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44"/>
  </p:notesMasterIdLst>
  <p:handoutMasterIdLst>
    <p:handoutMasterId r:id="rId45"/>
  </p:handoutMasterIdLst>
  <p:sldIdLst>
    <p:sldId id="347" r:id="rId6"/>
    <p:sldId id="258" r:id="rId7"/>
    <p:sldId id="428" r:id="rId8"/>
    <p:sldId id="423" r:id="rId9"/>
    <p:sldId id="430" r:id="rId10"/>
    <p:sldId id="429" r:id="rId11"/>
    <p:sldId id="459" r:id="rId12"/>
    <p:sldId id="461" r:id="rId13"/>
    <p:sldId id="462" r:id="rId14"/>
    <p:sldId id="464" r:id="rId15"/>
    <p:sldId id="463" r:id="rId16"/>
    <p:sldId id="467" r:id="rId17"/>
    <p:sldId id="466" r:id="rId18"/>
    <p:sldId id="465" r:id="rId19"/>
    <p:sldId id="471" r:id="rId20"/>
    <p:sldId id="472" r:id="rId21"/>
    <p:sldId id="473" r:id="rId22"/>
    <p:sldId id="468" r:id="rId23"/>
    <p:sldId id="469" r:id="rId24"/>
    <p:sldId id="470" r:id="rId25"/>
    <p:sldId id="474" r:id="rId26"/>
    <p:sldId id="475" r:id="rId27"/>
    <p:sldId id="476" r:id="rId28"/>
    <p:sldId id="477" r:id="rId29"/>
    <p:sldId id="482" r:id="rId30"/>
    <p:sldId id="481" r:id="rId31"/>
    <p:sldId id="480" r:id="rId32"/>
    <p:sldId id="478" r:id="rId33"/>
    <p:sldId id="479" r:id="rId34"/>
    <p:sldId id="483" r:id="rId35"/>
    <p:sldId id="484" r:id="rId36"/>
    <p:sldId id="485" r:id="rId37"/>
    <p:sldId id="486" r:id="rId38"/>
    <p:sldId id="487" r:id="rId39"/>
    <p:sldId id="488" r:id="rId40"/>
    <p:sldId id="417" r:id="rId41"/>
    <p:sldId id="358" r:id="rId42"/>
    <p:sldId id="257" r:id="rId43"/>
  </p:sldIdLst>
  <p:sldSz cx="12192000" cy="6858000"/>
  <p:notesSz cx="7099300" cy="10234613"/>
  <p:custDataLst>
    <p:tags r:id="rId4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0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B2E013-D972-11A8-9168-6BC259BE9AAC}" name="Luca Ricci" initials="LR" userId="S::10451631@polimi.it::ee5f09d5-0832-4e68-94c9-d8bfd2ad04f0" providerId="AD"/>
  <p188:author id="{7289294F-BB4E-3CFA-410A-727A10F9B155}" name="Gabriele Zanoletti" initials="GZ" userId="S::10607105@polimi.it::fc6666fa-3441-4ddc-a8b9-f69fbbdf5644" providerId="AD"/>
  <p188:author id="{EF6AC25E-B7D0-85C1-A6F6-40247FD68121}" name="Michele Rocco" initials="MR" userId="S::10749058@polimi.it::b98ebe7a-7641-4b10-bb82-27245654a50a" providerId="AD"/>
  <p188:author id="{9732C2EA-D5AC-3619-A13B-2163F8276712}" name="Gabriele Be'" initials="GB" userId="S::10455288@polimi.it::7bf626d5-9dae-4fe7-9b21-8b110831bcf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18FF"/>
    <a:srgbClr val="FFFFFF"/>
    <a:srgbClr val="C3D0DD"/>
    <a:srgbClr val="1D1D1A"/>
    <a:srgbClr val="FCD442"/>
    <a:srgbClr val="FF6666"/>
    <a:srgbClr val="4DB6AF"/>
    <a:srgbClr val="1D1D6F"/>
    <a:srgbClr val="B6CACA"/>
    <a:srgbClr val="7390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0633A6-D8FA-2343-AEB0-3F442ECCECB1}" v="7" dt="2024-10-17T12:58:42.957"/>
  </p1510:revLst>
</p1510:revInfo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/>
    <p:restoredTop sz="96327"/>
  </p:normalViewPr>
  <p:slideViewPr>
    <p:cSldViewPr snapToGrid="0">
      <p:cViewPr varScale="1">
        <p:scale>
          <a:sx n="79" d="100"/>
          <a:sy n="79" d="100"/>
        </p:scale>
        <p:origin x="883" y="77"/>
      </p:cViewPr>
      <p:guideLst>
        <p:guide pos="3840"/>
        <p:guide orient="horz" pos="20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handoutMaster" Target="handoutMasters/handoutMaster1.xml"/><Relationship Id="rId53" Type="http://schemas.microsoft.com/office/2018/10/relationships/authors" Target="authors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52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cco" userId="b98ebe7a-7641-4b10-bb82-27245654a50a" providerId="ADAL" clId="{74284C1D-32AE-4790-9EEE-CE796524812A}"/>
    <pc:docChg chg="custSel addSld modSld">
      <pc:chgData name="Michele Rocco" userId="b98ebe7a-7641-4b10-bb82-27245654a50a" providerId="ADAL" clId="{74284C1D-32AE-4790-9EEE-CE796524812A}" dt="2024-01-25T09:43:45.383" v="307" actId="14100"/>
      <pc:docMkLst>
        <pc:docMk/>
      </pc:docMkLst>
      <pc:sldChg chg="modSp">
        <pc:chgData name="Michele Rocco" userId="b98ebe7a-7641-4b10-bb82-27245654a50a" providerId="ADAL" clId="{74284C1D-32AE-4790-9EEE-CE796524812A}" dt="2024-01-25T09:39:18.464" v="26" actId="14826"/>
        <pc:sldMkLst>
          <pc:docMk/>
          <pc:sldMk cId="2889248117" sldId="341"/>
        </pc:sldMkLst>
        <pc:picChg chg="mod">
          <ac:chgData name="Michele Rocco" userId="b98ebe7a-7641-4b10-bb82-27245654a50a" providerId="ADAL" clId="{74284C1D-32AE-4790-9EEE-CE796524812A}" dt="2024-01-25T09:34:48.012" v="24" actId="14826"/>
          <ac:picMkLst>
            <pc:docMk/>
            <pc:sldMk cId="2889248117" sldId="341"/>
            <ac:picMk id="8" creationId="{4E06B517-27D0-7536-7A62-547AE5DF44B7}"/>
          </ac:picMkLst>
        </pc:picChg>
        <pc:picChg chg="mod">
          <ac:chgData name="Michele Rocco" userId="b98ebe7a-7641-4b10-bb82-27245654a50a" providerId="ADAL" clId="{74284C1D-32AE-4790-9EEE-CE796524812A}" dt="2024-01-25T09:39:18.464" v="26" actId="14826"/>
          <ac:picMkLst>
            <pc:docMk/>
            <pc:sldMk cId="2889248117" sldId="341"/>
            <ac:picMk id="9" creationId="{82C8B22C-5244-067F-5B13-F271C2408764}"/>
          </ac:picMkLst>
        </pc:picChg>
      </pc:sldChg>
      <pc:sldChg chg="modSp">
        <pc:chgData name="Michele Rocco" userId="b98ebe7a-7641-4b10-bb82-27245654a50a" providerId="ADAL" clId="{74284C1D-32AE-4790-9EEE-CE796524812A}" dt="2024-01-25T09:32:12.464" v="20" actId="14826"/>
        <pc:sldMkLst>
          <pc:docMk/>
          <pc:sldMk cId="3557329851" sldId="343"/>
        </pc:sldMkLst>
        <pc:picChg chg="mod">
          <ac:chgData name="Michele Rocco" userId="b98ebe7a-7641-4b10-bb82-27245654a50a" providerId="ADAL" clId="{74284C1D-32AE-4790-9EEE-CE796524812A}" dt="2024-01-25T09:32:12.464" v="20" actId="14826"/>
          <ac:picMkLst>
            <pc:docMk/>
            <pc:sldMk cId="3557329851" sldId="343"/>
            <ac:picMk id="6" creationId="{8B3388DE-C928-EFB8-A9A8-305C76A80A65}"/>
          </ac:picMkLst>
        </pc:picChg>
      </pc:sldChg>
      <pc:sldChg chg="modSp">
        <pc:chgData name="Michele Rocco" userId="b98ebe7a-7641-4b10-bb82-27245654a50a" providerId="ADAL" clId="{74284C1D-32AE-4790-9EEE-CE796524812A}" dt="2024-01-25T09:39:04.996" v="25" actId="14826"/>
        <pc:sldMkLst>
          <pc:docMk/>
          <pc:sldMk cId="782384403" sldId="345"/>
        </pc:sldMkLst>
        <pc:picChg chg="mod">
          <ac:chgData name="Michele Rocco" userId="b98ebe7a-7641-4b10-bb82-27245654a50a" providerId="ADAL" clId="{74284C1D-32AE-4790-9EEE-CE796524812A}" dt="2024-01-25T09:33:22.131" v="23" actId="14826"/>
          <ac:picMkLst>
            <pc:docMk/>
            <pc:sldMk cId="782384403" sldId="345"/>
            <ac:picMk id="6" creationId="{DA248A1A-2898-B3B9-3A5B-2232F0DE2EBE}"/>
          </ac:picMkLst>
        </pc:picChg>
        <pc:picChg chg="mod">
          <ac:chgData name="Michele Rocco" userId="b98ebe7a-7641-4b10-bb82-27245654a50a" providerId="ADAL" clId="{74284C1D-32AE-4790-9EEE-CE796524812A}" dt="2024-01-25T09:39:04.996" v="25" actId="14826"/>
          <ac:picMkLst>
            <pc:docMk/>
            <pc:sldMk cId="782384403" sldId="345"/>
            <ac:picMk id="7" creationId="{7F7D1DFD-32E0-56CE-FCD2-56ACA5464BDB}"/>
          </ac:picMkLst>
        </pc:picChg>
      </pc:sldChg>
      <pc:sldChg chg="addSp delSp modSp new mod">
        <pc:chgData name="Michele Rocco" userId="b98ebe7a-7641-4b10-bb82-27245654a50a" providerId="ADAL" clId="{74284C1D-32AE-4790-9EEE-CE796524812A}" dt="2024-01-25T09:43:45.383" v="307" actId="14100"/>
        <pc:sldMkLst>
          <pc:docMk/>
          <pc:sldMk cId="3489691726" sldId="348"/>
        </pc:sldMkLst>
        <pc:spChg chg="del">
          <ac:chgData name="Michele Rocco" userId="b98ebe7a-7641-4b10-bb82-27245654a50a" providerId="ADAL" clId="{74284C1D-32AE-4790-9EEE-CE796524812A}" dt="2024-01-25T09:24:11.923" v="1" actId="931"/>
          <ac:spMkLst>
            <pc:docMk/>
            <pc:sldMk cId="3489691726" sldId="348"/>
            <ac:spMk id="2" creationId="{DCB031FC-EF8A-4AB0-7C7C-22716AD2D961}"/>
          </ac:spMkLst>
        </pc:spChg>
        <pc:spChg chg="mod">
          <ac:chgData name="Michele Rocco" userId="b98ebe7a-7641-4b10-bb82-27245654a50a" providerId="ADAL" clId="{74284C1D-32AE-4790-9EEE-CE796524812A}" dt="2024-01-25T09:40:05.943" v="75" actId="20577"/>
          <ac:spMkLst>
            <pc:docMk/>
            <pc:sldMk cId="3489691726" sldId="348"/>
            <ac:spMk id="3" creationId="{C80883C9-0B4F-5E5B-C507-319F8B0A12C7}"/>
          </ac:spMkLst>
        </pc:spChg>
        <pc:spChg chg="add mod">
          <ac:chgData name="Michele Rocco" userId="b98ebe7a-7641-4b10-bb82-27245654a50a" providerId="ADAL" clId="{74284C1D-32AE-4790-9EEE-CE796524812A}" dt="2024-01-25T09:43:45.383" v="307" actId="14100"/>
          <ac:spMkLst>
            <pc:docMk/>
            <pc:sldMk cId="3489691726" sldId="348"/>
            <ac:spMk id="6" creationId="{91623543-6B41-2D96-D1AA-92E18BFE0BFF}"/>
          </ac:spMkLst>
        </pc:spChg>
        <pc:spChg chg="add del mod">
          <ac:chgData name="Michele Rocco" userId="b98ebe7a-7641-4b10-bb82-27245654a50a" providerId="ADAL" clId="{74284C1D-32AE-4790-9EEE-CE796524812A}" dt="2024-01-25T09:27:14.656" v="3" actId="931"/>
          <ac:spMkLst>
            <pc:docMk/>
            <pc:sldMk cId="3489691726" sldId="348"/>
            <ac:spMk id="9" creationId="{8DAC2F81-B833-9C12-BA06-629DE1AE691B}"/>
          </ac:spMkLst>
        </pc:spChg>
        <pc:picChg chg="add mod">
          <ac:chgData name="Michele Rocco" userId="b98ebe7a-7641-4b10-bb82-27245654a50a" providerId="ADAL" clId="{74284C1D-32AE-4790-9EEE-CE796524812A}" dt="2024-01-25T09:40:28.986" v="82" actId="1076"/>
          <ac:picMkLst>
            <pc:docMk/>
            <pc:sldMk cId="3489691726" sldId="348"/>
            <ac:picMk id="7" creationId="{BF47B201-4C7A-808B-4502-11BCAE8039BE}"/>
          </ac:picMkLst>
        </pc:picChg>
        <pc:picChg chg="add del mod">
          <ac:chgData name="Michele Rocco" userId="b98ebe7a-7641-4b10-bb82-27245654a50a" providerId="ADAL" clId="{74284C1D-32AE-4790-9EEE-CE796524812A}" dt="2024-01-25T09:26:13.421" v="2" actId="478"/>
          <ac:picMkLst>
            <pc:docMk/>
            <pc:sldMk cId="3489691726" sldId="348"/>
            <ac:picMk id="7" creationId="{EB02817B-42D0-BEF7-70D3-71CABA2CDFB1}"/>
          </ac:picMkLst>
        </pc:picChg>
        <pc:picChg chg="add del mod">
          <ac:chgData name="Michele Rocco" userId="b98ebe7a-7641-4b10-bb82-27245654a50a" providerId="ADAL" clId="{74284C1D-32AE-4790-9EEE-CE796524812A}" dt="2024-01-25T09:40:13.979" v="78" actId="21"/>
          <ac:picMkLst>
            <pc:docMk/>
            <pc:sldMk cId="3489691726" sldId="348"/>
            <ac:picMk id="11" creationId="{BF47B201-4C7A-808B-4502-11BCAE8039BE}"/>
          </ac:picMkLst>
        </pc:picChg>
      </pc:sldChg>
    </pc:docChg>
  </pc:docChgLst>
  <pc:docChgLst>
    <pc:chgData name="Luca Ricci" userId="ee5f09d5-0832-4e68-94c9-d8bfd2ad04f0" providerId="ADAL" clId="{4BC29580-8BCE-764B-9666-98CD2F633B19}"/>
    <pc:docChg chg="custSel modSld">
      <pc:chgData name="Luca Ricci" userId="ee5f09d5-0832-4e68-94c9-d8bfd2ad04f0" providerId="ADAL" clId="{4BC29580-8BCE-764B-9666-98CD2F633B19}" dt="2023-11-30T10:44:52.882" v="4" actId="700"/>
      <pc:docMkLst>
        <pc:docMk/>
      </pc:docMkLst>
      <pc:sldChg chg="addSp delSp modSp mod modClrScheme chgLayout">
        <pc:chgData name="Luca Ricci" userId="ee5f09d5-0832-4e68-94c9-d8bfd2ad04f0" providerId="ADAL" clId="{4BC29580-8BCE-764B-9666-98CD2F633B19}" dt="2023-11-30T10:44:52.882" v="4" actId="700"/>
        <pc:sldMkLst>
          <pc:docMk/>
          <pc:sldMk cId="913701754" sldId="267"/>
        </pc:sldMkLst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2" creationId="{187947C4-6ED7-79CA-42CC-9ED1FCB56DBB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3" creationId="{F0489790-85DE-90D4-1D37-BD7E88751938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4" creationId="{B042F4BE-04E2-00F7-6B97-50BBE90586D2}"/>
          </ac:spMkLst>
        </pc:spChg>
        <pc:spChg chg="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6" creationId="{A6D6E34A-1D08-A1DF-F495-14832730D313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7" creationId="{3FB1C68C-D054-4F8D-AA7A-F778CCFFFD34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8" creationId="{0FB27639-D1FE-4EB7-81D0-019FC186FBB5}"/>
          </ac:spMkLst>
        </pc:spChg>
        <pc:spChg chg="del mod ord">
          <ac:chgData name="Luca Ricci" userId="ee5f09d5-0832-4e68-94c9-d8bfd2ad04f0" providerId="ADAL" clId="{4BC29580-8BCE-764B-9666-98CD2F633B19}" dt="2023-11-30T10:44:42.097" v="0" actId="700"/>
          <ac:spMkLst>
            <pc:docMk/>
            <pc:sldMk cId="913701754" sldId="267"/>
            <ac:spMk id="9" creationId="{41589B28-D26E-44F4-8C62-FEE4AAED4A70}"/>
          </ac:spMkLst>
        </pc:spChg>
        <pc:spChg chg="add del mod ord">
          <ac:chgData name="Luca Ricci" userId="ee5f09d5-0832-4e68-94c9-d8bfd2ad04f0" providerId="ADAL" clId="{4BC29580-8BCE-764B-9666-98CD2F633B19}" dt="2023-11-30T10:44:46.376" v="1" actId="700"/>
          <ac:spMkLst>
            <pc:docMk/>
            <pc:sldMk cId="913701754" sldId="267"/>
            <ac:spMk id="10" creationId="{9A06F187-3954-B4FD-A2C1-A44BFFE7260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1" creationId="{DDC54C76-4D3A-F6D8-A55C-0FC0B7A7778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2" creationId="{A5BDB40A-E00F-9688-CAF6-8CEDA63FFEE1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3" creationId="{CE906CD6-3ED6-6C02-19ED-D08668B42F7D}"/>
          </ac:spMkLst>
        </pc:spChg>
        <pc:spChg chg="add del mod ord">
          <ac:chgData name="Luca Ricci" userId="ee5f09d5-0832-4e68-94c9-d8bfd2ad04f0" providerId="ADAL" clId="{4BC29580-8BCE-764B-9666-98CD2F633B19}" dt="2023-11-30T10:44:48.907" v="2" actId="700"/>
          <ac:spMkLst>
            <pc:docMk/>
            <pc:sldMk cId="913701754" sldId="267"/>
            <ac:spMk id="14" creationId="{CC9AFD52-C010-2588-9E3E-0606516A5A14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5" creationId="{4E491013-2FEC-14DA-B212-424476D1709B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6" creationId="{B13B9A36-EC2D-C009-F787-9F5DB3D6CA3C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7" creationId="{B2F25FE8-05DF-A25A-4149-EBE032F91139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8" creationId="{CA89AA77-D038-C87D-712E-AC9610E883C5}"/>
          </ac:spMkLst>
        </pc:spChg>
        <pc:spChg chg="add del mod ord">
          <ac:chgData name="Luca Ricci" userId="ee5f09d5-0832-4e68-94c9-d8bfd2ad04f0" providerId="ADAL" clId="{4BC29580-8BCE-764B-9666-98CD2F633B19}" dt="2023-11-30T10:44:51.006" v="3" actId="700"/>
          <ac:spMkLst>
            <pc:docMk/>
            <pc:sldMk cId="913701754" sldId="267"/>
            <ac:spMk id="19" creationId="{C1CC7F20-3A1C-6012-6A69-8BAFB59FA3BE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0" creationId="{457D79A4-B774-F283-EF5E-EDFE0130FC03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1" creationId="{255F264B-E505-588A-9605-3C51E4AB1FAB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2" creationId="{7D01FEAD-26A1-B766-C97A-56B40A6FE3BC}"/>
          </ac:spMkLst>
        </pc:spChg>
        <pc:spChg chg="add mod ord">
          <ac:chgData name="Luca Ricci" userId="ee5f09d5-0832-4e68-94c9-d8bfd2ad04f0" providerId="ADAL" clId="{4BC29580-8BCE-764B-9666-98CD2F633B19}" dt="2023-11-30T10:44:52.882" v="4" actId="700"/>
          <ac:spMkLst>
            <pc:docMk/>
            <pc:sldMk cId="913701754" sldId="267"/>
            <ac:spMk id="23" creationId="{7671A821-5F86-8FC3-A75D-B9F48E99632D}"/>
          </ac:spMkLst>
        </pc:spChg>
      </pc:sldChg>
    </pc:docChg>
  </pc:docChgLst>
  <pc:docChgLst>
    <pc:chgData name="Gabriele Be'" userId="7bf626d5-9dae-4fe7-9b21-8b110831bcf6" providerId="ADAL" clId="{BB824434-7F60-644E-BC42-2955C272D2F9}"/>
    <pc:docChg chg="delSection">
      <pc:chgData name="Gabriele Be'" userId="7bf626d5-9dae-4fe7-9b21-8b110831bcf6" providerId="ADAL" clId="{BB824434-7F60-644E-BC42-2955C272D2F9}" dt="2024-01-26T08:33:35.805" v="0" actId="17853"/>
      <pc:docMkLst>
        <pc:docMk/>
      </pc:docMkLst>
    </pc:docChg>
  </pc:docChgLst>
  <pc:docChgLst>
    <pc:chgData name="Gabriele Zanoletti" userId="fc6666fa-3441-4ddc-a8b9-f69fbbdf5644" providerId="ADAL" clId="{F2571258-CC26-4B12-B833-E4A17A5DE9C1}"/>
    <pc:docChg chg="undo custSel addSld delSld modSld sldOrd">
      <pc:chgData name="Gabriele Zanoletti" userId="fc6666fa-3441-4ddc-a8b9-f69fbbdf5644" providerId="ADAL" clId="{F2571258-CC26-4B12-B833-E4A17A5DE9C1}" dt="2024-01-24T12:14:36.734" v="11101" actId="20577"/>
      <pc:docMkLst>
        <pc:docMk/>
      </pc:docMkLst>
      <pc:sldChg chg="ord">
        <pc:chgData name="Gabriele Zanoletti" userId="fc6666fa-3441-4ddc-a8b9-f69fbbdf5644" providerId="ADAL" clId="{F2571258-CC26-4B12-B833-E4A17A5DE9C1}" dt="2024-01-23T14:59:48.793" v="748"/>
        <pc:sldMkLst>
          <pc:docMk/>
          <pc:sldMk cId="895135860" sldId="257"/>
        </pc:sldMkLst>
      </pc:sldChg>
      <pc:sldChg chg="addSp delSp modSp mod">
        <pc:chgData name="Gabriele Zanoletti" userId="fc6666fa-3441-4ddc-a8b9-f69fbbdf5644" providerId="ADAL" clId="{F2571258-CC26-4B12-B833-E4A17A5DE9C1}" dt="2024-01-17T13:13:52.431" v="208" actId="478"/>
        <pc:sldMkLst>
          <pc:docMk/>
          <pc:sldMk cId="3601296254" sldId="258"/>
        </pc:sldMkLst>
        <pc:spChg chg="mod">
          <ac:chgData name="Gabriele Zanoletti" userId="fc6666fa-3441-4ddc-a8b9-f69fbbdf5644" providerId="ADAL" clId="{F2571258-CC26-4B12-B833-E4A17A5DE9C1}" dt="2024-01-15T14:06:41.836" v="197" actId="20577"/>
          <ac:spMkLst>
            <pc:docMk/>
            <pc:sldMk cId="3601296254" sldId="258"/>
            <ac:spMk id="4" creationId="{1AC29BDC-7CB8-266E-07CF-D9D5D9169AC3}"/>
          </ac:spMkLst>
        </pc:spChg>
        <pc:spChg chg="add del mod ord">
          <ac:chgData name="Gabriele Zanoletti" userId="fc6666fa-3441-4ddc-a8b9-f69fbbdf5644" providerId="ADAL" clId="{F2571258-CC26-4B12-B833-E4A17A5DE9C1}" dt="2024-01-17T13:13:52.431" v="208" actId="478"/>
          <ac:spMkLst>
            <pc:docMk/>
            <pc:sldMk cId="3601296254" sldId="258"/>
            <ac:spMk id="6" creationId="{42C53683-346D-C3FA-25DD-4C6FAAEA08EC}"/>
          </ac:spMkLst>
        </pc:spChg>
        <pc:picChg chg="add del mod">
          <ac:chgData name="Gabriele Zanoletti" userId="fc6666fa-3441-4ddc-a8b9-f69fbbdf5644" providerId="ADAL" clId="{F2571258-CC26-4B12-B833-E4A17A5DE9C1}" dt="2024-01-17T13:13:51.944" v="207" actId="478"/>
          <ac:picMkLst>
            <pc:docMk/>
            <pc:sldMk cId="3601296254" sldId="258"/>
            <ac:picMk id="5" creationId="{C5706363-1636-518E-BB85-E1A44A7D338D}"/>
          </ac:picMkLst>
        </pc:picChg>
      </pc:sldChg>
      <pc:sldChg chg="addSp delSp modSp del mod modClrScheme chgLayout">
        <pc:chgData name="Gabriele Zanoletti" userId="fc6666fa-3441-4ddc-a8b9-f69fbbdf5644" providerId="ADAL" clId="{F2571258-CC26-4B12-B833-E4A17A5DE9C1}" dt="2024-01-23T14:59:24.641" v="726" actId="47"/>
        <pc:sldMkLst>
          <pc:docMk/>
          <pc:sldMk cId="1625672892" sldId="259"/>
        </pc:sldMkLst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2" creationId="{96B142A3-3E18-4302-85FC-39EF0216B791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3" creationId="{F1D2BAC8-AE0D-8A57-E287-FCB315CAB047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4" creationId="{A0D18D2A-C1DD-DA0F-564E-F8804357133C}"/>
          </ac:spMkLst>
        </pc:spChg>
        <pc:spChg chg="add del mod">
          <ac:chgData name="Gabriele Zanoletti" userId="fc6666fa-3441-4ddc-a8b9-f69fbbdf5644" providerId="ADAL" clId="{F2571258-CC26-4B12-B833-E4A17A5DE9C1}" dt="2024-01-23T13:19:55.077" v="212" actId="6264"/>
          <ac:spMkLst>
            <pc:docMk/>
            <pc:sldMk cId="1625672892" sldId="259"/>
            <ac:spMk id="5" creationId="{69963E77-9A2A-98FB-FC0D-E903087FC6E8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6" creationId="{D8967F99-6DEC-9996-DC6B-18094388496D}"/>
          </ac:spMkLst>
        </pc:spChg>
        <pc:spChg chg="add del 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7" creationId="{0E69FE2D-190B-9CC7-715B-C4F1131F57FD}"/>
          </ac:spMkLst>
        </pc:spChg>
        <pc:spChg chg="mod ord">
          <ac:chgData name="Gabriele Zanoletti" userId="fc6666fa-3441-4ddc-a8b9-f69fbbdf5644" providerId="ADAL" clId="{F2571258-CC26-4B12-B833-E4A17A5DE9C1}" dt="2024-01-23T13:20:02.969" v="214" actId="700"/>
          <ac:spMkLst>
            <pc:docMk/>
            <pc:sldMk cId="1625672892" sldId="259"/>
            <ac:spMk id="10" creationId="{5A82A501-62D7-BA88-FCEA-42DF25F31526}"/>
          </ac:spMkLst>
        </pc:spChg>
        <pc:picChg chg="mod ord">
          <ac:chgData name="Gabriele Zanoletti" userId="fc6666fa-3441-4ddc-a8b9-f69fbbdf5644" providerId="ADAL" clId="{F2571258-CC26-4B12-B833-E4A17A5DE9C1}" dt="2024-01-23T13:20:02.969" v="214" actId="700"/>
          <ac:picMkLst>
            <pc:docMk/>
            <pc:sldMk cId="1625672892" sldId="259"/>
            <ac:picMk id="16" creationId="{69C012A2-2CBB-CC32-EDF2-0B6DFA6D9245}"/>
          </ac:picMkLst>
        </pc:picChg>
      </pc:sldChg>
      <pc:sldChg chg="modSp mod">
        <pc:chgData name="Gabriele Zanoletti" userId="fc6666fa-3441-4ddc-a8b9-f69fbbdf5644" providerId="ADAL" clId="{F2571258-CC26-4B12-B833-E4A17A5DE9C1}" dt="2024-01-15T14:05:10.104" v="53" actId="20577"/>
        <pc:sldMkLst>
          <pc:docMk/>
          <pc:sldMk cId="913701754" sldId="267"/>
        </pc:sldMkLst>
        <pc:spChg chg="mod">
          <ac:chgData name="Gabriele Zanoletti" userId="fc6666fa-3441-4ddc-a8b9-f69fbbdf5644" providerId="ADAL" clId="{F2571258-CC26-4B12-B833-E4A17A5DE9C1}" dt="2024-01-15T14:02:44.098" v="4" actId="27636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Gabriele Zanoletti" userId="fc6666fa-3441-4ddc-a8b9-f69fbbdf5644" providerId="ADAL" clId="{F2571258-CC26-4B12-B833-E4A17A5DE9C1}" dt="2024-01-15T14:05:10.104" v="53" actId="20577"/>
          <ac:spMkLst>
            <pc:docMk/>
            <pc:sldMk cId="913701754" sldId="267"/>
            <ac:spMk id="3" creationId="{8D39D37D-9355-8216-502B-248CE6B8D7D6}"/>
          </ac:spMkLst>
        </pc:spChg>
      </pc:sldChg>
      <pc:sldChg chg="del">
        <pc:chgData name="Gabriele Zanoletti" userId="fc6666fa-3441-4ddc-a8b9-f69fbbdf5644" providerId="ADAL" clId="{F2571258-CC26-4B12-B833-E4A17A5DE9C1}" dt="2024-01-23T14:59:32.074" v="739" actId="47"/>
        <pc:sldMkLst>
          <pc:docMk/>
          <pc:sldMk cId="3141277617" sldId="270"/>
        </pc:sldMkLst>
      </pc:sldChg>
      <pc:sldChg chg="del">
        <pc:chgData name="Gabriele Zanoletti" userId="fc6666fa-3441-4ddc-a8b9-f69fbbdf5644" providerId="ADAL" clId="{F2571258-CC26-4B12-B833-E4A17A5DE9C1}" dt="2024-01-23T14:59:25.018" v="727" actId="47"/>
        <pc:sldMkLst>
          <pc:docMk/>
          <pc:sldMk cId="1589680712" sldId="271"/>
        </pc:sldMkLst>
      </pc:sldChg>
      <pc:sldChg chg="del">
        <pc:chgData name="Gabriele Zanoletti" userId="fc6666fa-3441-4ddc-a8b9-f69fbbdf5644" providerId="ADAL" clId="{F2571258-CC26-4B12-B833-E4A17A5DE9C1}" dt="2024-01-23T14:59:25.348" v="728" actId="47"/>
        <pc:sldMkLst>
          <pc:docMk/>
          <pc:sldMk cId="2779813759" sldId="272"/>
        </pc:sldMkLst>
      </pc:sldChg>
      <pc:sldChg chg="del">
        <pc:chgData name="Gabriele Zanoletti" userId="fc6666fa-3441-4ddc-a8b9-f69fbbdf5644" providerId="ADAL" clId="{F2571258-CC26-4B12-B833-E4A17A5DE9C1}" dt="2024-01-23T14:59:25.757" v="729" actId="47"/>
        <pc:sldMkLst>
          <pc:docMk/>
          <pc:sldMk cId="1135736597" sldId="273"/>
        </pc:sldMkLst>
      </pc:sldChg>
      <pc:sldChg chg="del">
        <pc:chgData name="Gabriele Zanoletti" userId="fc6666fa-3441-4ddc-a8b9-f69fbbdf5644" providerId="ADAL" clId="{F2571258-CC26-4B12-B833-E4A17A5DE9C1}" dt="2024-01-23T14:59:33.832" v="740" actId="47"/>
        <pc:sldMkLst>
          <pc:docMk/>
          <pc:sldMk cId="2968188460" sldId="274"/>
        </pc:sldMkLst>
      </pc:sldChg>
      <pc:sldChg chg="addSp delSp modSp del mod chgLayout">
        <pc:chgData name="Gabriele Zanoletti" userId="fc6666fa-3441-4ddc-a8b9-f69fbbdf5644" providerId="ADAL" clId="{F2571258-CC26-4B12-B833-E4A17A5DE9C1}" dt="2024-01-23T14:59:23.744" v="724" actId="47"/>
        <pc:sldMkLst>
          <pc:docMk/>
          <pc:sldMk cId="2990945037" sldId="276"/>
        </pc:sldMkLst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5" creationId="{135546F5-012E-B2E0-37D5-9122D8A6701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6" creationId="{00C0F838-FC25-4449-7965-8E8D4F4E98A1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7" creationId="{44615AB5-D69C-752C-C63F-E3BE1B308AF2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0" creationId="{C0DC1E7A-11AE-3B64-5A93-BD504C1504C3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1" creationId="{A0503497-A008-0418-0450-3B80952C3726}"/>
          </ac:spMkLst>
        </pc:spChg>
        <pc:spChg chg="add del mod">
          <ac:chgData name="Gabriele Zanoletti" userId="fc6666fa-3441-4ddc-a8b9-f69fbbdf5644" providerId="ADAL" clId="{F2571258-CC26-4B12-B833-E4A17A5DE9C1}" dt="2024-01-23T13:19:49.465" v="210" actId="6264"/>
          <ac:spMkLst>
            <pc:docMk/>
            <pc:sldMk cId="2990945037" sldId="276"/>
            <ac:spMk id="12" creationId="{FBBECACD-0F3A-3DE3-3D9A-8E769EC7F843}"/>
          </ac:spMkLst>
        </pc:spChg>
        <pc:picChg chg="mod ord">
          <ac:chgData name="Gabriele Zanoletti" userId="fc6666fa-3441-4ddc-a8b9-f69fbbdf5644" providerId="ADAL" clId="{F2571258-CC26-4B12-B833-E4A17A5DE9C1}" dt="2024-01-23T13:19:49.465" v="210" actId="6264"/>
          <ac:picMkLst>
            <pc:docMk/>
            <pc:sldMk cId="2990945037" sldId="276"/>
            <ac:picMk id="8" creationId="{8B5AF5C9-B484-5967-A46F-F80097891166}"/>
          </ac:picMkLst>
        </pc:picChg>
      </pc:sldChg>
      <pc:sldChg chg="del">
        <pc:chgData name="Gabriele Zanoletti" userId="fc6666fa-3441-4ddc-a8b9-f69fbbdf5644" providerId="ADAL" clId="{F2571258-CC26-4B12-B833-E4A17A5DE9C1}" dt="2024-01-23T14:59:24.169" v="725" actId="47"/>
        <pc:sldMkLst>
          <pc:docMk/>
          <pc:sldMk cId="4189800304" sldId="278"/>
        </pc:sldMkLst>
      </pc:sldChg>
      <pc:sldChg chg="del">
        <pc:chgData name="Gabriele Zanoletti" userId="fc6666fa-3441-4ddc-a8b9-f69fbbdf5644" providerId="ADAL" clId="{F2571258-CC26-4B12-B833-E4A17A5DE9C1}" dt="2024-01-23T14:59:26.087" v="730" actId="47"/>
        <pc:sldMkLst>
          <pc:docMk/>
          <pc:sldMk cId="304618885" sldId="279"/>
        </pc:sldMkLst>
      </pc:sldChg>
      <pc:sldChg chg="del">
        <pc:chgData name="Gabriele Zanoletti" userId="fc6666fa-3441-4ddc-a8b9-f69fbbdf5644" providerId="ADAL" clId="{F2571258-CC26-4B12-B833-E4A17A5DE9C1}" dt="2024-01-23T14:59:31.477" v="738" actId="47"/>
        <pc:sldMkLst>
          <pc:docMk/>
          <pc:sldMk cId="3605496133" sldId="280"/>
        </pc:sldMkLst>
      </pc:sldChg>
      <pc:sldChg chg="del">
        <pc:chgData name="Gabriele Zanoletti" userId="fc6666fa-3441-4ddc-a8b9-f69fbbdf5644" providerId="ADAL" clId="{F2571258-CC26-4B12-B833-E4A17A5DE9C1}" dt="2024-01-23T14:59:22.266" v="723" actId="47"/>
        <pc:sldMkLst>
          <pc:docMk/>
          <pc:sldMk cId="335704528" sldId="281"/>
        </pc:sldMkLst>
      </pc:sldChg>
      <pc:sldChg chg="del">
        <pc:chgData name="Gabriele Zanoletti" userId="fc6666fa-3441-4ddc-a8b9-f69fbbdf5644" providerId="ADAL" clId="{F2571258-CC26-4B12-B833-E4A17A5DE9C1}" dt="2024-01-23T14:59:30.708" v="737" actId="47"/>
        <pc:sldMkLst>
          <pc:docMk/>
          <pc:sldMk cId="2523226674" sldId="282"/>
        </pc:sldMkLst>
      </pc:sldChg>
      <pc:sldChg chg="del">
        <pc:chgData name="Gabriele Zanoletti" userId="fc6666fa-3441-4ddc-a8b9-f69fbbdf5644" providerId="ADAL" clId="{F2571258-CC26-4B12-B833-E4A17A5DE9C1}" dt="2024-01-23T14:59:28.491" v="732" actId="47"/>
        <pc:sldMkLst>
          <pc:docMk/>
          <pc:sldMk cId="2709073556" sldId="283"/>
        </pc:sldMkLst>
      </pc:sldChg>
      <pc:sldChg chg="del">
        <pc:chgData name="Gabriele Zanoletti" userId="fc6666fa-3441-4ddc-a8b9-f69fbbdf5644" providerId="ADAL" clId="{F2571258-CC26-4B12-B833-E4A17A5DE9C1}" dt="2024-01-23T14:59:30.017" v="735" actId="47"/>
        <pc:sldMkLst>
          <pc:docMk/>
          <pc:sldMk cId="3067180519" sldId="284"/>
        </pc:sldMkLst>
      </pc:sldChg>
      <pc:sldChg chg="del">
        <pc:chgData name="Gabriele Zanoletti" userId="fc6666fa-3441-4ddc-a8b9-f69fbbdf5644" providerId="ADAL" clId="{F2571258-CC26-4B12-B833-E4A17A5DE9C1}" dt="2024-01-23T14:59:30.331" v="736" actId="47"/>
        <pc:sldMkLst>
          <pc:docMk/>
          <pc:sldMk cId="4096381590" sldId="285"/>
        </pc:sldMkLst>
      </pc:sldChg>
      <pc:sldChg chg="del">
        <pc:chgData name="Gabriele Zanoletti" userId="fc6666fa-3441-4ddc-a8b9-f69fbbdf5644" providerId="ADAL" clId="{F2571258-CC26-4B12-B833-E4A17A5DE9C1}" dt="2024-01-23T14:59:29.308" v="733" actId="47"/>
        <pc:sldMkLst>
          <pc:docMk/>
          <pc:sldMk cId="4187071354" sldId="287"/>
        </pc:sldMkLst>
      </pc:sldChg>
      <pc:sldChg chg="del">
        <pc:chgData name="Gabriele Zanoletti" userId="fc6666fa-3441-4ddc-a8b9-f69fbbdf5644" providerId="ADAL" clId="{F2571258-CC26-4B12-B833-E4A17A5DE9C1}" dt="2024-01-23T14:59:29.435" v="734" actId="47"/>
        <pc:sldMkLst>
          <pc:docMk/>
          <pc:sldMk cId="1947591369" sldId="288"/>
        </pc:sldMkLst>
      </pc:sldChg>
      <pc:sldChg chg="del">
        <pc:chgData name="Gabriele Zanoletti" userId="fc6666fa-3441-4ddc-a8b9-f69fbbdf5644" providerId="ADAL" clId="{F2571258-CC26-4B12-B833-E4A17A5DE9C1}" dt="2024-01-23T14:59:27.346" v="731" actId="47"/>
        <pc:sldMkLst>
          <pc:docMk/>
          <pc:sldMk cId="1323570930" sldId="289"/>
        </pc:sldMkLst>
      </pc:sldChg>
      <pc:sldChg chg="del">
        <pc:chgData name="Gabriele Zanoletti" userId="fc6666fa-3441-4ddc-a8b9-f69fbbdf5644" providerId="ADAL" clId="{F2571258-CC26-4B12-B833-E4A17A5DE9C1}" dt="2024-01-23T14:59:54.109" v="749" actId="47"/>
        <pc:sldMkLst>
          <pc:docMk/>
          <pc:sldMk cId="102636184" sldId="290"/>
        </pc:sldMkLst>
      </pc:sldChg>
      <pc:sldChg chg="addSp delSp modSp new mod">
        <pc:chgData name="Gabriele Zanoletti" userId="fc6666fa-3441-4ddc-a8b9-f69fbbdf5644" providerId="ADAL" clId="{F2571258-CC26-4B12-B833-E4A17A5DE9C1}" dt="2024-01-24T07:58:16.802" v="3151" actId="20577"/>
        <pc:sldMkLst>
          <pc:docMk/>
          <pc:sldMk cId="994454846" sldId="291"/>
        </pc:sldMkLst>
        <pc:spChg chg="mod">
          <ac:chgData name="Gabriele Zanoletti" userId="fc6666fa-3441-4ddc-a8b9-f69fbbdf5644" providerId="ADAL" clId="{F2571258-CC26-4B12-B833-E4A17A5DE9C1}" dt="2024-01-23T15:02:26.341" v="843" actId="20577"/>
          <ac:spMkLst>
            <pc:docMk/>
            <pc:sldMk cId="994454846" sldId="291"/>
            <ac:spMk id="2" creationId="{51BBF078-C8A6-B19B-5A86-1388E178168E}"/>
          </ac:spMkLst>
        </pc:spChg>
        <pc:spChg chg="add mod">
          <ac:chgData name="Gabriele Zanoletti" userId="fc6666fa-3441-4ddc-a8b9-f69fbbdf5644" providerId="ADAL" clId="{F2571258-CC26-4B12-B833-E4A17A5DE9C1}" dt="2024-01-24T07:58:16.802" v="3151" actId="20577"/>
          <ac:spMkLst>
            <pc:docMk/>
            <pc:sldMk cId="994454846" sldId="291"/>
            <ac:spMk id="9" creationId="{384C8E91-B72A-D715-878D-3115E7D21AE9}"/>
          </ac:spMkLst>
        </pc:spChg>
        <pc:picChg chg="add del mod">
          <ac:chgData name="Gabriele Zanoletti" userId="fc6666fa-3441-4ddc-a8b9-f69fbbdf5644" providerId="ADAL" clId="{F2571258-CC26-4B12-B833-E4A17A5DE9C1}" dt="2024-01-23T13:21:11.644" v="221" actId="478"/>
          <ac:picMkLst>
            <pc:docMk/>
            <pc:sldMk cId="994454846" sldId="291"/>
            <ac:picMk id="6" creationId="{ADB86BC4-626F-4932-295C-10AFE6FFDA36}"/>
          </ac:picMkLst>
        </pc:picChg>
        <pc:picChg chg="add mod">
          <ac:chgData name="Gabriele Zanoletti" userId="fc6666fa-3441-4ddc-a8b9-f69fbbdf5644" providerId="ADAL" clId="{F2571258-CC26-4B12-B833-E4A17A5DE9C1}" dt="2024-01-23T13:24:37.088" v="228" actId="1076"/>
          <ac:picMkLst>
            <pc:docMk/>
            <pc:sldMk cId="994454846" sldId="291"/>
            <ac:picMk id="8" creationId="{7979D102-15DF-A596-B76A-2A979867BF3B}"/>
          </ac:picMkLst>
        </pc:picChg>
      </pc:sldChg>
      <pc:sldChg chg="new del">
        <pc:chgData name="Gabriele Zanoletti" userId="fc6666fa-3441-4ddc-a8b9-f69fbbdf5644" providerId="ADAL" clId="{F2571258-CC26-4B12-B833-E4A17A5DE9C1}" dt="2024-01-23T13:20:55.594" v="216" actId="47"/>
        <pc:sldMkLst>
          <pc:docMk/>
          <pc:sldMk cId="2908727478" sldId="291"/>
        </pc:sldMkLst>
      </pc:sldChg>
      <pc:sldChg chg="new del">
        <pc:chgData name="Gabriele Zanoletti" userId="fc6666fa-3441-4ddc-a8b9-f69fbbdf5644" providerId="ADAL" clId="{F2571258-CC26-4B12-B833-E4A17A5DE9C1}" dt="2024-01-23T13:26:15.867" v="260" actId="47"/>
        <pc:sldMkLst>
          <pc:docMk/>
          <pc:sldMk cId="763350070" sldId="292"/>
        </pc:sldMkLst>
      </pc:sldChg>
      <pc:sldChg chg="modSp add del mod">
        <pc:chgData name="Gabriele Zanoletti" userId="fc6666fa-3441-4ddc-a8b9-f69fbbdf5644" providerId="ADAL" clId="{F2571258-CC26-4B12-B833-E4A17A5DE9C1}" dt="2024-01-23T13:26:39.494" v="264"/>
        <pc:sldMkLst>
          <pc:docMk/>
          <pc:sldMk cId="2789190832" sldId="292"/>
        </pc:sldMkLst>
        <pc:spChg chg="mod">
          <ac:chgData name="Gabriele Zanoletti" userId="fc6666fa-3441-4ddc-a8b9-f69fbbdf5644" providerId="ADAL" clId="{F2571258-CC26-4B12-B833-E4A17A5DE9C1}" dt="2024-01-23T13:26:38.803" v="263" actId="20577"/>
          <ac:spMkLst>
            <pc:docMk/>
            <pc:sldMk cId="2789190832" sldId="292"/>
            <ac:spMk id="2" creationId="{51BBF078-C8A6-B19B-5A86-1388E178168E}"/>
          </ac:spMkLst>
        </pc:spChg>
      </pc:sldChg>
      <pc:sldChg chg="addSp delSp modSp add mod">
        <pc:chgData name="Gabriele Zanoletti" userId="fc6666fa-3441-4ddc-a8b9-f69fbbdf5644" providerId="ADAL" clId="{F2571258-CC26-4B12-B833-E4A17A5DE9C1}" dt="2024-01-24T07:58:41.593" v="3158" actId="20577"/>
        <pc:sldMkLst>
          <pc:docMk/>
          <pc:sldMk cId="3241623441" sldId="292"/>
        </pc:sldMkLst>
        <pc:spChg chg="mod">
          <ac:chgData name="Gabriele Zanoletti" userId="fc6666fa-3441-4ddc-a8b9-f69fbbdf5644" providerId="ADAL" clId="{F2571258-CC26-4B12-B833-E4A17A5DE9C1}" dt="2024-01-23T15:01:12.101" v="803" actId="21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7:58:41.593" v="3158" actId="20577"/>
          <ac:spMkLst>
            <pc:docMk/>
            <pc:sldMk cId="3241623441" sldId="292"/>
            <ac:spMk id="9" creationId="{384C8E91-B72A-D715-878D-3115E7D21AE9}"/>
          </ac:spMkLst>
        </pc:sp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6" creationId="{16354C2A-E074-390B-33AD-86D85A2DB81F}"/>
          </ac:picMkLst>
        </pc:picChg>
        <pc:picChg chg="del">
          <ac:chgData name="Gabriele Zanoletti" userId="fc6666fa-3441-4ddc-a8b9-f69fbbdf5644" providerId="ADAL" clId="{F2571258-CC26-4B12-B833-E4A17A5DE9C1}" dt="2024-01-23T13:26:44.023" v="266" actId="478"/>
          <ac:picMkLst>
            <pc:docMk/>
            <pc:sldMk cId="3241623441" sldId="292"/>
            <ac:picMk id="8" creationId="{7979D102-15DF-A596-B76A-2A979867BF3B}"/>
          </ac:picMkLst>
        </pc:picChg>
        <pc:picChg chg="add mod">
          <ac:chgData name="Gabriele Zanoletti" userId="fc6666fa-3441-4ddc-a8b9-f69fbbdf5644" providerId="ADAL" clId="{F2571258-CC26-4B12-B833-E4A17A5DE9C1}" dt="2024-01-23T15:38:09.354" v="2376" actId="14100"/>
          <ac:picMkLst>
            <pc:docMk/>
            <pc:sldMk cId="3241623441" sldId="292"/>
            <ac:picMk id="10" creationId="{D56DD99C-2B50-6333-E5D0-1ED41F398F93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00:11.454" v="3159" actId="20577"/>
        <pc:sldMkLst>
          <pc:docMk/>
          <pc:sldMk cId="692283471" sldId="293"/>
        </pc:sldMkLst>
        <pc:spChg chg="mod">
          <ac:chgData name="Gabriele Zanoletti" userId="fc6666fa-3441-4ddc-a8b9-f69fbbdf5644" providerId="ADAL" clId="{F2571258-CC26-4B12-B833-E4A17A5DE9C1}" dt="2024-01-23T15:02:00.085" v="826" actId="20577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00:11.454" v="3159" actId="20577"/>
          <ac:spMkLst>
            <pc:docMk/>
            <pc:sldMk cId="692283471" sldId="293"/>
            <ac:spMk id="9" creationId="{384C8E91-B72A-D715-878D-3115E7D21AE9}"/>
          </ac:spMkLst>
        </pc:spChg>
        <pc:picChg chg="del">
          <ac:chgData name="Gabriele Zanoletti" userId="fc6666fa-3441-4ddc-a8b9-f69fbbdf5644" providerId="ADAL" clId="{F2571258-CC26-4B12-B833-E4A17A5DE9C1}" dt="2024-01-23T13:28:02.003" v="283" actId="478"/>
          <ac:picMkLst>
            <pc:docMk/>
            <pc:sldMk cId="692283471" sldId="293"/>
            <ac:picMk id="6" creationId="{16354C2A-E074-390B-33AD-86D85A2DB81F}"/>
          </ac:picMkLst>
        </pc:picChg>
        <pc:picChg chg="add del mod">
          <ac:chgData name="Gabriele Zanoletti" userId="fc6666fa-3441-4ddc-a8b9-f69fbbdf5644" providerId="ADAL" clId="{F2571258-CC26-4B12-B833-E4A17A5DE9C1}" dt="2024-01-23T13:28:12.673" v="288" actId="478"/>
          <ac:picMkLst>
            <pc:docMk/>
            <pc:sldMk cId="692283471" sldId="293"/>
            <ac:picMk id="7" creationId="{ED27DF90-4BE1-942C-67EE-62162A7710F5}"/>
          </ac:picMkLst>
        </pc:picChg>
        <pc:picChg chg="del">
          <ac:chgData name="Gabriele Zanoletti" userId="fc6666fa-3441-4ddc-a8b9-f69fbbdf5644" providerId="ADAL" clId="{F2571258-CC26-4B12-B833-E4A17A5DE9C1}" dt="2024-01-23T13:28:02.539" v="284" actId="478"/>
          <ac:picMkLst>
            <pc:docMk/>
            <pc:sldMk cId="692283471" sldId="293"/>
            <ac:picMk id="10" creationId="{D56DD99C-2B50-6333-E5D0-1ED41F398F93}"/>
          </ac:picMkLst>
        </pc:picChg>
        <pc:picChg chg="add del mod">
          <ac:chgData name="Gabriele Zanoletti" userId="fc6666fa-3441-4ddc-a8b9-f69fbbdf5644" providerId="ADAL" clId="{F2571258-CC26-4B12-B833-E4A17A5DE9C1}" dt="2024-01-23T13:28:11.718" v="287" actId="478"/>
          <ac:picMkLst>
            <pc:docMk/>
            <pc:sldMk cId="692283471" sldId="293"/>
            <ac:picMk id="11" creationId="{B33AD786-FA8B-8FA8-C1DA-0A315BE00108}"/>
          </ac:picMkLst>
        </pc:picChg>
        <pc:picChg chg="add mod">
          <ac:chgData name="Gabriele Zanoletti" userId="fc6666fa-3441-4ddc-a8b9-f69fbbdf5644" providerId="ADAL" clId="{F2571258-CC26-4B12-B833-E4A17A5DE9C1}" dt="2024-01-23T13:31:28.105" v="294" actId="1076"/>
          <ac:picMkLst>
            <pc:docMk/>
            <pc:sldMk cId="692283471" sldId="293"/>
            <ac:picMk id="13" creationId="{273DA1F4-A7AC-1500-EAC8-A8167DB5B019}"/>
          </ac:picMkLst>
        </pc:picChg>
        <pc:picChg chg="add mod">
          <ac:chgData name="Gabriele Zanoletti" userId="fc6666fa-3441-4ddc-a8b9-f69fbbdf5644" providerId="ADAL" clId="{F2571258-CC26-4B12-B833-E4A17A5DE9C1}" dt="2024-01-23T13:31:35.976" v="295" actId="1076"/>
          <ac:picMkLst>
            <pc:docMk/>
            <pc:sldMk cId="692283471" sldId="293"/>
            <ac:picMk id="15" creationId="{68D81A0E-F544-D4D3-AEF2-99543245CF4B}"/>
          </ac:picMkLst>
        </pc:picChg>
      </pc:sldChg>
      <pc:sldChg chg="addSp delSp modSp add mod modClrScheme chgLayout">
        <pc:chgData name="Gabriele Zanoletti" userId="fc6666fa-3441-4ddc-a8b9-f69fbbdf5644" providerId="ADAL" clId="{F2571258-CC26-4B12-B833-E4A17A5DE9C1}" dt="2024-01-24T08:24:47.197" v="4063" actId="255"/>
        <pc:sldMkLst>
          <pc:docMk/>
          <pc:sldMk cId="2858633819" sldId="294"/>
        </pc:sldMkLst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2" creationId="{51BBF078-C8A6-B19B-5A86-1388E178168E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3" creationId="{C04D15B5-7960-56F9-327A-2187E8DB5B91}"/>
          </ac:spMkLst>
        </pc:spChg>
        <pc:spChg chg="mod ord">
          <ac:chgData name="Gabriele Zanoletti" userId="fc6666fa-3441-4ddc-a8b9-f69fbbdf5644" providerId="ADAL" clId="{F2571258-CC26-4B12-B833-E4A17A5DE9C1}" dt="2024-01-23T15:44:12.659" v="2621" actId="700"/>
          <ac:spMkLst>
            <pc:docMk/>
            <pc:sldMk cId="2858633819" sldId="294"/>
            <ac:spMk id="4" creationId="{AA22CF49-01A6-8083-3BF5-A087AFE4980A}"/>
          </ac:spMkLst>
        </pc:spChg>
        <pc:spChg chg="add mod ord">
          <ac:chgData name="Gabriele Zanoletti" userId="fc6666fa-3441-4ddc-a8b9-f69fbbdf5644" providerId="ADAL" clId="{F2571258-CC26-4B12-B833-E4A17A5DE9C1}" dt="2024-01-24T08:24:42.364" v="4062" actId="255"/>
          <ac:spMkLst>
            <pc:docMk/>
            <pc:sldMk cId="2858633819" sldId="294"/>
            <ac:spMk id="5" creationId="{07C10B25-52DB-6AE0-3DBC-9A996236C2B2}"/>
          </ac:spMkLst>
        </pc:spChg>
        <pc:spChg chg="add mod ord">
          <ac:chgData name="Gabriele Zanoletti" userId="fc6666fa-3441-4ddc-a8b9-f69fbbdf5644" providerId="ADAL" clId="{F2571258-CC26-4B12-B833-E4A17A5DE9C1}" dt="2024-01-24T08:24:47.197" v="4063" actId="255"/>
          <ac:spMkLst>
            <pc:docMk/>
            <pc:sldMk cId="2858633819" sldId="294"/>
            <ac:spMk id="7" creationId="{4CD401C1-C9E4-A15B-4244-04B575C68909}"/>
          </ac:spMkLst>
        </pc:spChg>
        <pc:spChg chg="del">
          <ac:chgData name="Gabriele Zanoletti" userId="fc6666fa-3441-4ddc-a8b9-f69fbbdf5644" providerId="ADAL" clId="{F2571258-CC26-4B12-B833-E4A17A5DE9C1}" dt="2024-01-23T15:44:46.707" v="2641" actId="478"/>
          <ac:spMkLst>
            <pc:docMk/>
            <pc:sldMk cId="2858633819" sldId="294"/>
            <ac:spMk id="9" creationId="{384C8E91-B72A-D715-878D-3115E7D21AE9}"/>
          </ac:spMkLst>
        </pc:spChg>
        <pc:spChg chg="add del">
          <ac:chgData name="Gabriele Zanoletti" userId="fc6666fa-3441-4ddc-a8b9-f69fbbdf5644" providerId="ADAL" clId="{F2571258-CC26-4B12-B833-E4A17A5DE9C1}" dt="2024-01-23T15:52:21.398" v="2879" actId="22"/>
          <ac:spMkLst>
            <pc:docMk/>
            <pc:sldMk cId="2858633819" sldId="294"/>
            <ac:spMk id="11" creationId="{665CB14D-993A-AF8F-1F51-41F9D33C7F56}"/>
          </ac:spMkLst>
        </pc:spChg>
        <pc:spChg chg="add del">
          <ac:chgData name="Gabriele Zanoletti" userId="fc6666fa-3441-4ddc-a8b9-f69fbbdf5644" providerId="ADAL" clId="{F2571258-CC26-4B12-B833-E4A17A5DE9C1}" dt="2024-01-23T15:52:22.370" v="2881" actId="22"/>
          <ac:spMkLst>
            <pc:docMk/>
            <pc:sldMk cId="2858633819" sldId="294"/>
            <ac:spMk id="13" creationId="{28D3A23E-5FE7-690B-FFC1-3017273DDB39}"/>
          </ac:spMkLst>
        </pc:sp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03:27.647" v="3190" actId="1035"/>
          <ac:picMkLst>
            <pc:docMk/>
            <pc:sldMk cId="2858633819" sldId="294"/>
            <ac:picMk id="8" creationId="{0A43B661-CE5B-1DCF-094C-73004AD4591D}"/>
          </ac:picMkLst>
        </pc:picChg>
        <pc:picChg chg="del">
          <ac:chgData name="Gabriele Zanoletti" userId="fc6666fa-3441-4ddc-a8b9-f69fbbdf5644" providerId="ADAL" clId="{F2571258-CC26-4B12-B833-E4A17A5DE9C1}" dt="2024-01-23T13:32:24.345" v="298" actId="478"/>
          <ac:picMkLst>
            <pc:docMk/>
            <pc:sldMk cId="2858633819" sldId="294"/>
            <ac:picMk id="13" creationId="{273DA1F4-A7AC-1500-EAC8-A8167DB5B019}"/>
          </ac:picMkLst>
        </pc:picChg>
        <pc:picChg chg="del">
          <ac:chgData name="Gabriele Zanoletti" userId="fc6666fa-3441-4ddc-a8b9-f69fbbdf5644" providerId="ADAL" clId="{F2571258-CC26-4B12-B833-E4A17A5DE9C1}" dt="2024-01-23T13:32:23.968" v="297" actId="478"/>
          <ac:picMkLst>
            <pc:docMk/>
            <pc:sldMk cId="2858633819" sldId="294"/>
            <ac:picMk id="15" creationId="{68D81A0E-F544-D4D3-AEF2-99543245CF4B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18:25.847" v="3635" actId="1076"/>
        <pc:sldMkLst>
          <pc:docMk/>
          <pc:sldMk cId="3804523030" sldId="295"/>
        </pc:sldMkLst>
        <pc:spChg chg="mod">
          <ac:chgData name="Gabriele Zanoletti" userId="fc6666fa-3441-4ddc-a8b9-f69fbbdf5644" providerId="ADAL" clId="{F2571258-CC26-4B12-B833-E4A17A5DE9C1}" dt="2024-01-23T15:03:45.097" v="906" actId="6549"/>
          <ac:spMkLst>
            <pc:docMk/>
            <pc:sldMk cId="3804523030" sldId="295"/>
            <ac:spMk id="2" creationId="{51BBF078-C8A6-B19B-5A86-1388E178168E}"/>
          </ac:spMkLst>
        </pc:spChg>
        <pc:spChg chg="add del">
          <ac:chgData name="Gabriele Zanoletti" userId="fc6666fa-3441-4ddc-a8b9-f69fbbdf5644" providerId="ADAL" clId="{F2571258-CC26-4B12-B833-E4A17A5DE9C1}" dt="2024-01-24T08:05:11.242" v="3276" actId="22"/>
          <ac:spMkLst>
            <pc:docMk/>
            <pc:sldMk cId="3804523030" sldId="295"/>
            <ac:spMk id="6" creationId="{BE5A4D23-8FED-5A7A-E7F8-B352AF161017}"/>
          </ac:spMkLst>
        </pc:spChg>
        <pc:spChg chg="mod">
          <ac:chgData name="Gabriele Zanoletti" userId="fc6666fa-3441-4ddc-a8b9-f69fbbdf5644" providerId="ADAL" clId="{F2571258-CC26-4B12-B833-E4A17A5DE9C1}" dt="2024-01-24T08:18:01.285" v="3629" actId="14100"/>
          <ac:spMkLst>
            <pc:docMk/>
            <pc:sldMk cId="3804523030" sldId="295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18:25.847" v="3635" actId="1076"/>
          <ac:spMkLst>
            <pc:docMk/>
            <pc:sldMk cId="3804523030" sldId="295"/>
            <ac:spMk id="10" creationId="{6959B758-C75A-2346-3F76-6CE74CFE608E}"/>
          </ac:spMkLst>
        </pc:spChg>
        <pc:picChg chg="del">
          <ac:chgData name="Gabriele Zanoletti" userId="fc6666fa-3441-4ddc-a8b9-f69fbbdf5644" providerId="ADAL" clId="{F2571258-CC26-4B12-B833-E4A17A5DE9C1}" dt="2024-01-23T13:35:01.849" v="308" actId="478"/>
          <ac:picMkLst>
            <pc:docMk/>
            <pc:sldMk cId="3804523030" sldId="295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4T08:18:21.918" v="3634" actId="1076"/>
          <ac:picMkLst>
            <pc:docMk/>
            <pc:sldMk cId="3804523030" sldId="295"/>
            <ac:picMk id="7" creationId="{7917CD73-C2A6-63A9-9E9D-B212F4DED292}"/>
          </ac:picMkLst>
        </pc:picChg>
        <pc:picChg chg="del">
          <ac:chgData name="Gabriele Zanoletti" userId="fc6666fa-3441-4ddc-a8b9-f69fbbdf5644" providerId="ADAL" clId="{F2571258-CC26-4B12-B833-E4A17A5DE9C1}" dt="2024-01-23T13:35:02.551" v="309" actId="478"/>
          <ac:picMkLst>
            <pc:docMk/>
            <pc:sldMk cId="3804523030" sldId="295"/>
            <ac:picMk id="8" creationId="{0A43B661-CE5B-1DCF-094C-73004AD4591D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0:47.290" v="4293" actId="12"/>
        <pc:sldMkLst>
          <pc:docMk/>
          <pc:sldMk cId="1570471128" sldId="296"/>
        </pc:sldMkLst>
        <pc:spChg chg="mod">
          <ac:chgData name="Gabriele Zanoletti" userId="fc6666fa-3441-4ddc-a8b9-f69fbbdf5644" providerId="ADAL" clId="{F2571258-CC26-4B12-B833-E4A17A5DE9C1}" dt="2024-01-23T15:04:13.746" v="957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0:47.290" v="4293" actId="12"/>
          <ac:spMkLst>
            <pc:docMk/>
            <pc:sldMk cId="1570471128" sldId="296"/>
            <ac:spMk id="9" creationId="{384C8E91-B72A-D715-878D-3115E7D21AE9}"/>
          </ac:spMkLst>
        </pc:spChg>
        <pc:spChg chg="add mod">
          <ac:chgData name="Gabriele Zanoletti" userId="fc6666fa-3441-4ddc-a8b9-f69fbbdf5644" providerId="ADAL" clId="{F2571258-CC26-4B12-B833-E4A17A5DE9C1}" dt="2024-01-24T08:27:30.305" v="4201" actId="20577"/>
          <ac:spMkLst>
            <pc:docMk/>
            <pc:sldMk cId="1570471128" sldId="296"/>
            <ac:spMk id="12" creationId="{1790EBD9-6684-4CE0-92FE-08B9BBF9FF90}"/>
          </ac:spMkLst>
        </pc:spChg>
        <pc:picChg chg="del">
          <ac:chgData name="Gabriele Zanoletti" userId="fc6666fa-3441-4ddc-a8b9-f69fbbdf5644" providerId="ADAL" clId="{F2571258-CC26-4B12-B833-E4A17A5DE9C1}" dt="2024-01-23T13:37:02.538" v="319" actId="478"/>
          <ac:picMkLst>
            <pc:docMk/>
            <pc:sldMk cId="1570471128" sldId="296"/>
            <ac:picMk id="6" creationId="{6836B168-99CC-A640-D030-013E49A9CF3F}"/>
          </ac:picMkLst>
        </pc:picChg>
        <pc:picChg chg="add mod">
          <ac:chgData name="Gabriele Zanoletti" userId="fc6666fa-3441-4ddc-a8b9-f69fbbdf5644" providerId="ADAL" clId="{F2571258-CC26-4B12-B833-E4A17A5DE9C1}" dt="2024-01-23T13:38:52.450" v="395" actId="1036"/>
          <ac:picMkLst>
            <pc:docMk/>
            <pc:sldMk cId="1570471128" sldId="296"/>
            <ac:picMk id="7" creationId="{0C781AAE-78B4-B51E-F72A-646820477632}"/>
          </ac:picMkLst>
        </pc:picChg>
        <pc:picChg chg="del">
          <ac:chgData name="Gabriele Zanoletti" userId="fc6666fa-3441-4ddc-a8b9-f69fbbdf5644" providerId="ADAL" clId="{F2571258-CC26-4B12-B833-E4A17A5DE9C1}" dt="2024-01-23T13:37:04.113" v="320" actId="478"/>
          <ac:picMkLst>
            <pc:docMk/>
            <pc:sldMk cId="1570471128" sldId="296"/>
            <ac:picMk id="8" creationId="{0A43B661-CE5B-1DCF-094C-73004AD4591D}"/>
          </ac:picMkLst>
        </pc:picChg>
        <pc:picChg chg="add mod">
          <ac:chgData name="Gabriele Zanoletti" userId="fc6666fa-3441-4ddc-a8b9-f69fbbdf5644" providerId="ADAL" clId="{F2571258-CC26-4B12-B833-E4A17A5DE9C1}" dt="2024-01-23T13:38:56.071" v="405" actId="1036"/>
          <ac:picMkLst>
            <pc:docMk/>
            <pc:sldMk cId="1570471128" sldId="296"/>
            <ac:picMk id="11" creationId="{65A293A7-5841-4818-F26A-77B2743FB48E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8:35:27.035" v="4479" actId="207"/>
        <pc:sldMkLst>
          <pc:docMk/>
          <pc:sldMk cId="1604505303" sldId="297"/>
        </pc:sldMkLst>
        <pc:spChg chg="mod">
          <ac:chgData name="Gabriele Zanoletti" userId="fc6666fa-3441-4ddc-a8b9-f69fbbdf5644" providerId="ADAL" clId="{F2571258-CC26-4B12-B833-E4A17A5DE9C1}" dt="2024-01-23T15:04:20.939" v="976" actId="20577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Gabriele Zanoletti" userId="fc6666fa-3441-4ddc-a8b9-f69fbbdf5644" providerId="ADAL" clId="{F2571258-CC26-4B12-B833-E4A17A5DE9C1}" dt="2024-01-24T08:32:51.718" v="4391" actId="20577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Gabriele Zanoletti" userId="fc6666fa-3441-4ddc-a8b9-f69fbbdf5644" providerId="ADAL" clId="{F2571258-CC26-4B12-B833-E4A17A5DE9C1}" dt="2024-01-24T08:35:27.035" v="4479" actId="207"/>
          <ac:spMkLst>
            <pc:docMk/>
            <pc:sldMk cId="1604505303" sldId="297"/>
            <ac:spMk id="12" creationId="{1790EBD9-6684-4CE0-92FE-08B9BBF9FF90}"/>
          </ac:spMkLst>
        </pc:spChg>
        <pc:picChg chg="add mod">
          <ac:chgData name="Gabriele Zanoletti" userId="fc6666fa-3441-4ddc-a8b9-f69fbbdf5644" providerId="ADAL" clId="{F2571258-CC26-4B12-B833-E4A17A5DE9C1}" dt="2024-01-23T13:43:20.548" v="447" actId="1076"/>
          <ac:picMkLst>
            <pc:docMk/>
            <pc:sldMk cId="1604505303" sldId="297"/>
            <ac:picMk id="6" creationId="{8542FF78-9F7E-E9B9-A8C8-A7FAD4DA9004}"/>
          </ac:picMkLst>
        </pc:picChg>
        <pc:picChg chg="del">
          <ac:chgData name="Gabriele Zanoletti" userId="fc6666fa-3441-4ddc-a8b9-f69fbbdf5644" providerId="ADAL" clId="{F2571258-CC26-4B12-B833-E4A17A5DE9C1}" dt="2024-01-23T13:42:53.910" v="440" actId="478"/>
          <ac:picMkLst>
            <pc:docMk/>
            <pc:sldMk cId="1604505303" sldId="297"/>
            <ac:picMk id="7" creationId="{0C781AAE-78B4-B51E-F72A-646820477632}"/>
          </ac:picMkLst>
        </pc:picChg>
        <pc:picChg chg="add mod">
          <ac:chgData name="Gabriele Zanoletti" userId="fc6666fa-3441-4ddc-a8b9-f69fbbdf5644" providerId="ADAL" clId="{F2571258-CC26-4B12-B833-E4A17A5DE9C1}" dt="2024-01-23T13:43:25.863" v="448" actId="1076"/>
          <ac:picMkLst>
            <pc:docMk/>
            <pc:sldMk cId="1604505303" sldId="297"/>
            <ac:picMk id="10" creationId="{F5BA67BB-2B47-8273-94BB-70F246D45EDF}"/>
          </ac:picMkLst>
        </pc:picChg>
        <pc:picChg chg="del">
          <ac:chgData name="Gabriele Zanoletti" userId="fc6666fa-3441-4ddc-a8b9-f69fbbdf5644" providerId="ADAL" clId="{F2571258-CC26-4B12-B833-E4A17A5DE9C1}" dt="2024-01-23T13:42:55.172" v="441" actId="478"/>
          <ac:picMkLst>
            <pc:docMk/>
            <pc:sldMk cId="1604505303" sldId="297"/>
            <ac:picMk id="11" creationId="{65A293A7-5841-4818-F26A-77B2743FB48E}"/>
          </ac:picMkLst>
        </pc:picChg>
      </pc:sldChg>
      <pc:sldChg chg="add del">
        <pc:chgData name="Gabriele Zanoletti" userId="fc6666fa-3441-4ddc-a8b9-f69fbbdf5644" providerId="ADAL" clId="{F2571258-CC26-4B12-B833-E4A17A5DE9C1}" dt="2024-01-23T15:04:33.460" v="977" actId="47"/>
        <pc:sldMkLst>
          <pc:docMk/>
          <pc:sldMk cId="3468081537" sldId="298"/>
        </pc:sldMkLst>
      </pc:sldChg>
      <pc:sldChg chg="addSp delSp modSp new mod">
        <pc:chgData name="Gabriele Zanoletti" userId="fc6666fa-3441-4ddc-a8b9-f69fbbdf5644" providerId="ADAL" clId="{F2571258-CC26-4B12-B833-E4A17A5DE9C1}" dt="2024-01-24T09:15:11.324" v="6035" actId="20577"/>
        <pc:sldMkLst>
          <pc:docMk/>
          <pc:sldMk cId="3397797632" sldId="299"/>
        </pc:sldMkLst>
        <pc:spChg chg="mod">
          <ac:chgData name="Gabriele Zanoletti" userId="fc6666fa-3441-4ddc-a8b9-f69fbbdf5644" providerId="ADAL" clId="{F2571258-CC26-4B12-B833-E4A17A5DE9C1}" dt="2024-01-23T15:05:12.718" v="1024" actId="20577"/>
          <ac:spMkLst>
            <pc:docMk/>
            <pc:sldMk cId="3397797632" sldId="299"/>
            <ac:spMk id="2" creationId="{A32276C4-73BB-0578-40AB-D7DE7AEE228F}"/>
          </ac:spMkLst>
        </pc:spChg>
        <pc:spChg chg="add mod">
          <ac:chgData name="Gabriele Zanoletti" userId="fc6666fa-3441-4ddc-a8b9-f69fbbdf5644" providerId="ADAL" clId="{F2571258-CC26-4B12-B833-E4A17A5DE9C1}" dt="2024-01-24T09:15:11.324" v="6035" actId="20577"/>
          <ac:spMkLst>
            <pc:docMk/>
            <pc:sldMk cId="3397797632" sldId="299"/>
            <ac:spMk id="5" creationId="{7E12A5DC-027B-271D-6C1B-DBD206DFA5D2}"/>
          </ac:spMkLst>
        </pc:spChg>
        <pc:picChg chg="add del mod">
          <ac:chgData name="Gabriele Zanoletti" userId="fc6666fa-3441-4ddc-a8b9-f69fbbdf5644" providerId="ADAL" clId="{F2571258-CC26-4B12-B833-E4A17A5DE9C1}" dt="2024-01-24T08:48:33.175" v="5193" actId="478"/>
          <ac:picMkLst>
            <pc:docMk/>
            <pc:sldMk cId="3397797632" sldId="299"/>
            <ac:picMk id="6" creationId="{C542129C-A244-C393-18EE-DBC6B35BBE45}"/>
          </ac:picMkLst>
        </pc:picChg>
        <pc:picChg chg="add del">
          <ac:chgData name="Gabriele Zanoletti" userId="fc6666fa-3441-4ddc-a8b9-f69fbbdf5644" providerId="ADAL" clId="{F2571258-CC26-4B12-B833-E4A17A5DE9C1}" dt="2024-01-24T08:44:22.310" v="5078" actId="478"/>
          <ac:picMkLst>
            <pc:docMk/>
            <pc:sldMk cId="3397797632" sldId="299"/>
            <ac:picMk id="8" creationId="{3409910E-F1A4-73B7-E499-02FACB29FC28}"/>
          </ac:picMkLst>
        </pc:picChg>
        <pc:picChg chg="add del mod">
          <ac:chgData name="Gabriele Zanoletti" userId="fc6666fa-3441-4ddc-a8b9-f69fbbdf5644" providerId="ADAL" clId="{F2571258-CC26-4B12-B833-E4A17A5DE9C1}" dt="2024-01-23T13:48:08.213" v="454" actId="21"/>
          <ac:picMkLst>
            <pc:docMk/>
            <pc:sldMk cId="3397797632" sldId="299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8:50:28.683" v="5200" actId="478"/>
          <ac:picMkLst>
            <pc:docMk/>
            <pc:sldMk cId="3397797632" sldId="299"/>
            <ac:picMk id="10" creationId="{96508B31-0664-5814-829B-4F236006D44A}"/>
          </ac:picMkLst>
        </pc:picChg>
        <pc:picChg chg="add mod modCrop">
          <ac:chgData name="Gabriele Zanoletti" userId="fc6666fa-3441-4ddc-a8b9-f69fbbdf5644" providerId="ADAL" clId="{F2571258-CC26-4B12-B833-E4A17A5DE9C1}" dt="2024-01-24T08:54:04.934" v="5503" actId="1076"/>
          <ac:picMkLst>
            <pc:docMk/>
            <pc:sldMk cId="3397797632" sldId="299"/>
            <ac:picMk id="12" creationId="{0B2284A3-8BF2-EBF4-DE7A-149E73EDE7AC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19:28.290" v="6246" actId="404"/>
        <pc:sldMkLst>
          <pc:docMk/>
          <pc:sldMk cId="1255775440" sldId="300"/>
        </pc:sldMkLst>
        <pc:spChg chg="mod">
          <ac:chgData name="Gabriele Zanoletti" userId="fc6666fa-3441-4ddc-a8b9-f69fbbdf5644" providerId="ADAL" clId="{F2571258-CC26-4B12-B833-E4A17A5DE9C1}" dt="2024-01-23T15:06:22.447" v="1068" actId="20577"/>
          <ac:spMkLst>
            <pc:docMk/>
            <pc:sldMk cId="1255775440" sldId="300"/>
            <ac:spMk id="2" creationId="{0FED1ECC-B37A-AFAC-AAE5-7973C510847E}"/>
          </ac:spMkLst>
        </pc:spChg>
        <pc:spChg chg="add mod">
          <ac:chgData name="Gabriele Zanoletti" userId="fc6666fa-3441-4ddc-a8b9-f69fbbdf5644" providerId="ADAL" clId="{F2571258-CC26-4B12-B833-E4A17A5DE9C1}" dt="2024-01-24T09:19:28.290" v="6246" actId="404"/>
          <ac:spMkLst>
            <pc:docMk/>
            <pc:sldMk cId="1255775440" sldId="300"/>
            <ac:spMk id="6" creationId="{50C010F7-AEE0-3158-E807-1977EC3DB4D2}"/>
          </ac:spMkLst>
        </pc:spChg>
        <pc:picChg chg="add del mod">
          <ac:chgData name="Gabriele Zanoletti" userId="fc6666fa-3441-4ddc-a8b9-f69fbbdf5644" providerId="ADAL" clId="{F2571258-CC26-4B12-B833-E4A17A5DE9C1}" dt="2024-01-24T08:55:43.883" v="5507" actId="478"/>
          <ac:picMkLst>
            <pc:docMk/>
            <pc:sldMk cId="1255775440" sldId="300"/>
            <ac:picMk id="5" creationId="{795F670E-BF44-69E9-9847-E96A50B118E7}"/>
          </ac:picMkLst>
        </pc:picChg>
        <pc:picChg chg="add del mod">
          <ac:chgData name="Gabriele Zanoletti" userId="fc6666fa-3441-4ddc-a8b9-f69fbbdf5644" providerId="ADAL" clId="{F2571258-CC26-4B12-B833-E4A17A5DE9C1}" dt="2024-01-24T09:04:13.656" v="5514" actId="478"/>
          <ac:picMkLst>
            <pc:docMk/>
            <pc:sldMk cId="1255775440" sldId="300"/>
            <ac:picMk id="8" creationId="{B6794168-D8E1-EDD1-A176-74119CEDB909}"/>
          </ac:picMkLst>
        </pc:picChg>
        <pc:picChg chg="add del mod">
          <ac:chgData name="Gabriele Zanoletti" userId="fc6666fa-3441-4ddc-a8b9-f69fbbdf5644" providerId="ADAL" clId="{F2571258-CC26-4B12-B833-E4A17A5DE9C1}" dt="2024-01-24T09:05:21.460" v="5521" actId="478"/>
          <ac:picMkLst>
            <pc:docMk/>
            <pc:sldMk cId="1255775440" sldId="300"/>
            <ac:picMk id="9" creationId="{CFB0C776-E737-09FE-79CE-31B787FB8D01}"/>
          </ac:picMkLst>
        </pc:picChg>
        <pc:picChg chg="add mod">
          <ac:chgData name="Gabriele Zanoletti" userId="fc6666fa-3441-4ddc-a8b9-f69fbbdf5644" providerId="ADAL" clId="{F2571258-CC26-4B12-B833-E4A17A5DE9C1}" dt="2024-01-24T09:05:30.009" v="5525" actId="14100"/>
          <ac:picMkLst>
            <pc:docMk/>
            <pc:sldMk cId="1255775440" sldId="300"/>
            <ac:picMk id="11" creationId="{BFD91EDF-103E-CC18-BED5-D56810C9DC59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26:49.430" v="6401" actId="20577"/>
        <pc:sldMkLst>
          <pc:docMk/>
          <pc:sldMk cId="1968516981" sldId="301"/>
        </pc:sldMkLst>
        <pc:spChg chg="mod">
          <ac:chgData name="Gabriele Zanoletti" userId="fc6666fa-3441-4ddc-a8b9-f69fbbdf5644" providerId="ADAL" clId="{F2571258-CC26-4B12-B833-E4A17A5DE9C1}" dt="2024-01-23T15:07:28.813" v="1136" actId="20577"/>
          <ac:spMkLst>
            <pc:docMk/>
            <pc:sldMk cId="1968516981" sldId="301"/>
            <ac:spMk id="2" creationId="{E070C1E7-82FC-C308-48AA-BB576309C94E}"/>
          </ac:spMkLst>
        </pc:spChg>
        <pc:spChg chg="add del">
          <ac:chgData name="Gabriele Zanoletti" userId="fc6666fa-3441-4ddc-a8b9-f69fbbdf5644" providerId="ADAL" clId="{F2571258-CC26-4B12-B833-E4A17A5DE9C1}" dt="2024-01-24T09:22:00.578" v="6248" actId="478"/>
          <ac:spMkLst>
            <pc:docMk/>
            <pc:sldMk cId="1968516981" sldId="301"/>
            <ac:spMk id="7" creationId="{5DA769BC-12E5-8B45-6AEF-F49B2746742B}"/>
          </ac:spMkLst>
        </pc:spChg>
        <pc:spChg chg="add mod">
          <ac:chgData name="Gabriele Zanoletti" userId="fc6666fa-3441-4ddc-a8b9-f69fbbdf5644" providerId="ADAL" clId="{F2571258-CC26-4B12-B833-E4A17A5DE9C1}" dt="2024-01-24T09:26:49.430" v="6401" actId="20577"/>
          <ac:spMkLst>
            <pc:docMk/>
            <pc:sldMk cId="1968516981" sldId="301"/>
            <ac:spMk id="8" creationId="{8363D223-88A9-0442-F246-5982E43AFC0F}"/>
          </ac:spMkLst>
        </pc:spChg>
        <pc:picChg chg="add mod">
          <ac:chgData name="Gabriele Zanoletti" userId="fc6666fa-3441-4ddc-a8b9-f69fbbdf5644" providerId="ADAL" clId="{F2571258-CC26-4B12-B833-E4A17A5DE9C1}" dt="2024-01-24T09:22:24.330" v="6255" actId="1076"/>
          <ac:picMkLst>
            <pc:docMk/>
            <pc:sldMk cId="1968516981" sldId="301"/>
            <ac:picMk id="6" creationId="{87E9870D-FDB2-A3E7-A3EC-50D93BF44858}"/>
          </ac:picMkLst>
        </pc:picChg>
        <pc:picChg chg="add del mod">
          <ac:chgData name="Gabriele Zanoletti" userId="fc6666fa-3441-4ddc-a8b9-f69fbbdf5644" providerId="ADAL" clId="{F2571258-CC26-4B12-B833-E4A17A5DE9C1}" dt="2024-01-24T09:22:20.930" v="6254" actId="478"/>
          <ac:picMkLst>
            <pc:docMk/>
            <pc:sldMk cId="1968516981" sldId="301"/>
            <ac:picMk id="9" creationId="{4C1D8C7E-CF1B-A6B6-4D49-8298D5DE42C5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31:16.601" v="6455" actId="1076"/>
        <pc:sldMkLst>
          <pc:docMk/>
          <pc:sldMk cId="3837282433" sldId="302"/>
        </pc:sldMkLst>
        <pc:spChg chg="mod">
          <ac:chgData name="Gabriele Zanoletti" userId="fc6666fa-3441-4ddc-a8b9-f69fbbdf5644" providerId="ADAL" clId="{F2571258-CC26-4B12-B833-E4A17A5DE9C1}" dt="2024-01-23T15:10:01.729" v="1202" actId="20577"/>
          <ac:spMkLst>
            <pc:docMk/>
            <pc:sldMk cId="3837282433" sldId="302"/>
            <ac:spMk id="2" creationId="{D7C9BEB4-AE92-C198-5C9B-5A770711D3C8}"/>
          </ac:spMkLst>
        </pc:spChg>
        <pc:spChg chg="add del mod">
          <ac:chgData name="Gabriele Zanoletti" userId="fc6666fa-3441-4ddc-a8b9-f69fbbdf5644" providerId="ADAL" clId="{F2571258-CC26-4B12-B833-E4A17A5DE9C1}" dt="2024-01-24T09:27:24.505" v="6404" actId="478"/>
          <ac:spMkLst>
            <pc:docMk/>
            <pc:sldMk cId="3837282433" sldId="302"/>
            <ac:spMk id="7" creationId="{9997929F-87CD-5EB5-1933-697FB6CCF5BE}"/>
          </ac:spMkLst>
        </pc:spChg>
        <pc:spChg chg="add mod">
          <ac:chgData name="Gabriele Zanoletti" userId="fc6666fa-3441-4ddc-a8b9-f69fbbdf5644" providerId="ADAL" clId="{F2571258-CC26-4B12-B833-E4A17A5DE9C1}" dt="2024-01-24T09:31:05.518" v="6454" actId="255"/>
          <ac:spMkLst>
            <pc:docMk/>
            <pc:sldMk cId="3837282433" sldId="302"/>
            <ac:spMk id="9" creationId="{078BCF92-F916-33B3-0D64-C96047F9C5F5}"/>
          </ac:spMkLst>
        </pc:spChg>
        <pc:picChg chg="add mod">
          <ac:chgData name="Gabriele Zanoletti" userId="fc6666fa-3441-4ddc-a8b9-f69fbbdf5644" providerId="ADAL" clId="{F2571258-CC26-4B12-B833-E4A17A5DE9C1}" dt="2024-01-24T09:31:16.601" v="6455" actId="1076"/>
          <ac:picMkLst>
            <pc:docMk/>
            <pc:sldMk cId="3837282433" sldId="302"/>
            <ac:picMk id="6" creationId="{4E41CDDC-DA6F-7C91-0D04-E78724C92FF1}"/>
          </ac:picMkLst>
        </pc:picChg>
        <pc:picChg chg="add mod">
          <ac:chgData name="Gabriele Zanoletti" userId="fc6666fa-3441-4ddc-a8b9-f69fbbdf5644" providerId="ADAL" clId="{F2571258-CC26-4B12-B833-E4A17A5DE9C1}" dt="2024-01-24T09:29:20.733" v="6425" actId="1076"/>
          <ac:picMkLst>
            <pc:docMk/>
            <pc:sldMk cId="3837282433" sldId="302"/>
            <ac:picMk id="8" creationId="{0275A399-5A21-F73B-9407-2CA0146F7624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09:32:34.089" v="6468" actId="6549"/>
        <pc:sldMkLst>
          <pc:docMk/>
          <pc:sldMk cId="786950877" sldId="303"/>
        </pc:sldMkLst>
        <pc:spChg chg="mod">
          <ac:chgData name="Gabriele Zanoletti" userId="fc6666fa-3441-4ddc-a8b9-f69fbbdf5644" providerId="ADAL" clId="{F2571258-CC26-4B12-B833-E4A17A5DE9C1}" dt="2024-01-23T15:10:11.571" v="1203" actId="20577"/>
          <ac:spMkLst>
            <pc:docMk/>
            <pc:sldMk cId="786950877" sldId="303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2:34.089" v="6468" actId="6549"/>
          <ac:spMkLst>
            <pc:docMk/>
            <pc:sldMk cId="786950877" sldId="303"/>
            <ac:spMk id="5" creationId="{FB1F8869-1CA9-0423-420E-C8D6324DBE23}"/>
          </ac:spMkLst>
        </pc:spChg>
        <pc:picChg chg="add mod">
          <ac:chgData name="Gabriele Zanoletti" userId="fc6666fa-3441-4ddc-a8b9-f69fbbdf5644" providerId="ADAL" clId="{F2571258-CC26-4B12-B833-E4A17A5DE9C1}" dt="2024-01-24T09:32:07.749" v="6461" actId="1076"/>
          <ac:picMkLst>
            <pc:docMk/>
            <pc:sldMk cId="786950877" sldId="303"/>
            <ac:picMk id="6" creationId="{5F6F4CC5-FDDE-53EF-8475-CD13B25E6EE8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09:36:27.945" v="6595" actId="14100"/>
        <pc:sldMkLst>
          <pc:docMk/>
          <pc:sldMk cId="4147670638" sldId="304"/>
        </pc:sldMkLst>
        <pc:spChg chg="mod">
          <ac:chgData name="Gabriele Zanoletti" userId="fc6666fa-3441-4ddc-a8b9-f69fbbdf5644" providerId="ADAL" clId="{F2571258-CC26-4B12-B833-E4A17A5DE9C1}" dt="2024-01-23T15:10:15.663" v="1204" actId="20577"/>
          <ac:spMkLst>
            <pc:docMk/>
            <pc:sldMk cId="4147670638" sldId="304"/>
            <ac:spMk id="2" creationId="{06675B17-37D5-6F32-A9A2-60EF4BB95C5E}"/>
          </ac:spMkLst>
        </pc:spChg>
        <pc:spChg chg="add mod">
          <ac:chgData name="Gabriele Zanoletti" userId="fc6666fa-3441-4ddc-a8b9-f69fbbdf5644" providerId="ADAL" clId="{F2571258-CC26-4B12-B833-E4A17A5DE9C1}" dt="2024-01-24T09:36:27.945" v="6595" actId="14100"/>
          <ac:spMkLst>
            <pc:docMk/>
            <pc:sldMk cId="4147670638" sldId="304"/>
            <ac:spMk id="5" creationId="{1D1BB2AF-92FA-D679-2481-ABAEE07337E9}"/>
          </ac:spMkLst>
        </pc:spChg>
        <pc:picChg chg="del">
          <ac:chgData name="Gabriele Zanoletti" userId="fc6666fa-3441-4ddc-a8b9-f69fbbdf5644" providerId="ADAL" clId="{F2571258-CC26-4B12-B833-E4A17A5DE9C1}" dt="2024-01-23T14:12:05.095" v="516" actId="478"/>
          <ac:picMkLst>
            <pc:docMk/>
            <pc:sldMk cId="4147670638" sldId="304"/>
            <ac:picMk id="6" creationId="{5F6F4CC5-FDDE-53EF-8475-CD13B25E6EE8}"/>
          </ac:picMkLst>
        </pc:picChg>
        <pc:picChg chg="add mod">
          <ac:chgData name="Gabriele Zanoletti" userId="fc6666fa-3441-4ddc-a8b9-f69fbbdf5644" providerId="ADAL" clId="{F2571258-CC26-4B12-B833-E4A17A5DE9C1}" dt="2024-01-24T09:34:29.460" v="6530" actId="1076"/>
          <ac:picMkLst>
            <pc:docMk/>
            <pc:sldMk cId="4147670638" sldId="304"/>
            <ac:picMk id="7" creationId="{D180DF65-E1D6-19AE-3679-246BD75F1FC2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09:54:09.529" v="6965" actId="1076"/>
        <pc:sldMkLst>
          <pc:docMk/>
          <pc:sldMk cId="2129748764" sldId="305"/>
        </pc:sldMkLst>
        <pc:spChg chg="mod">
          <ac:chgData name="Gabriele Zanoletti" userId="fc6666fa-3441-4ddc-a8b9-f69fbbdf5644" providerId="ADAL" clId="{F2571258-CC26-4B12-B833-E4A17A5DE9C1}" dt="2024-01-23T15:10:44.226" v="1328" actId="20577"/>
          <ac:spMkLst>
            <pc:docMk/>
            <pc:sldMk cId="2129748764" sldId="305"/>
            <ac:spMk id="2" creationId="{22E6288F-4C58-0357-7270-DAE1CDAF3F92}"/>
          </ac:spMkLst>
        </pc:spChg>
        <pc:spChg chg="add del mod">
          <ac:chgData name="Gabriele Zanoletti" userId="fc6666fa-3441-4ddc-a8b9-f69fbbdf5644" providerId="ADAL" clId="{F2571258-CC26-4B12-B833-E4A17A5DE9C1}" dt="2024-01-24T09:52:19.125" v="6782" actId="478"/>
          <ac:spMkLst>
            <pc:docMk/>
            <pc:sldMk cId="2129748764" sldId="305"/>
            <ac:spMk id="5" creationId="{161AC5EE-E577-5065-8934-4C04036C5DE1}"/>
          </ac:spMkLst>
        </pc:spChg>
        <pc:spChg chg="add mod">
          <ac:chgData name="Gabriele Zanoletti" userId="fc6666fa-3441-4ddc-a8b9-f69fbbdf5644" providerId="ADAL" clId="{F2571258-CC26-4B12-B833-E4A17A5DE9C1}" dt="2024-01-24T09:54:00.099" v="6962" actId="122"/>
          <ac:spMkLst>
            <pc:docMk/>
            <pc:sldMk cId="2129748764" sldId="305"/>
            <ac:spMk id="7" creationId="{A06493C9-D57D-B443-F7C5-67928C6CA30F}"/>
          </ac:spMkLst>
        </pc:spChg>
        <pc:picChg chg="add mod modCrop">
          <ac:chgData name="Gabriele Zanoletti" userId="fc6666fa-3441-4ddc-a8b9-f69fbbdf5644" providerId="ADAL" clId="{F2571258-CC26-4B12-B833-E4A17A5DE9C1}" dt="2024-01-24T09:54:09.529" v="6965" actId="1076"/>
          <ac:picMkLst>
            <pc:docMk/>
            <pc:sldMk cId="2129748764" sldId="305"/>
            <ac:picMk id="6" creationId="{17B56DBD-2744-DC79-6B4F-83D9E731D7D4}"/>
          </ac:picMkLst>
        </pc:picChg>
      </pc:sldChg>
      <pc:sldChg chg="addSp delSp modSp new mod ord modCm">
        <pc:chgData name="Gabriele Zanoletti" userId="fc6666fa-3441-4ddc-a8b9-f69fbbdf5644" providerId="ADAL" clId="{F2571258-CC26-4B12-B833-E4A17A5DE9C1}" dt="2024-01-24T11:56:11.253" v="10544" actId="1076"/>
        <pc:sldMkLst>
          <pc:docMk/>
          <pc:sldMk cId="4004401706" sldId="306"/>
        </pc:sldMkLst>
        <pc:spChg chg="mod">
          <ac:chgData name="Gabriele Zanoletti" userId="fc6666fa-3441-4ddc-a8b9-f69fbbdf5644" providerId="ADAL" clId="{F2571258-CC26-4B12-B833-E4A17A5DE9C1}" dt="2024-01-23T15:11:22.809" v="1359" actId="20577"/>
          <ac:spMkLst>
            <pc:docMk/>
            <pc:sldMk cId="4004401706" sldId="306"/>
            <ac:spMk id="2" creationId="{8AECB9C5-20A5-EC47-5C23-A7A35D341FDE}"/>
          </ac:spMkLst>
        </pc:spChg>
        <pc:spChg chg="add mod">
          <ac:chgData name="Gabriele Zanoletti" userId="fc6666fa-3441-4ddc-a8b9-f69fbbdf5644" providerId="ADAL" clId="{F2571258-CC26-4B12-B833-E4A17A5DE9C1}" dt="2024-01-24T09:51:09.108" v="6764" actId="20577"/>
          <ac:spMkLst>
            <pc:docMk/>
            <pc:sldMk cId="4004401706" sldId="306"/>
            <ac:spMk id="7" creationId="{3D66364C-5949-1C11-BADB-DAAABF23F60E}"/>
          </ac:spMkLst>
        </pc:spChg>
        <pc:picChg chg="add del mod modCrop">
          <ac:chgData name="Gabriele Zanoletti" userId="fc6666fa-3441-4ddc-a8b9-f69fbbdf5644" providerId="ADAL" clId="{F2571258-CC26-4B12-B833-E4A17A5DE9C1}" dt="2024-01-24T07:51:15.428" v="3119" actId="478"/>
          <ac:picMkLst>
            <pc:docMk/>
            <pc:sldMk cId="4004401706" sldId="306"/>
            <ac:picMk id="6" creationId="{091D4036-1C9A-836F-655C-2CF64F125ADF}"/>
          </ac:picMkLst>
        </pc:picChg>
        <pc:picChg chg="add mod">
          <ac:chgData name="Gabriele Zanoletti" userId="fc6666fa-3441-4ddc-a8b9-f69fbbdf5644" providerId="ADAL" clId="{F2571258-CC26-4B12-B833-E4A17A5DE9C1}" dt="2024-01-24T09:44:58.475" v="6603" actId="14100"/>
          <ac:picMkLst>
            <pc:docMk/>
            <pc:sldMk cId="4004401706" sldId="306"/>
            <ac:picMk id="6" creationId="{BBBA1E22-BD36-91B0-4BC1-70F0CCB90BE5}"/>
          </ac:picMkLst>
        </pc:picChg>
        <pc:picChg chg="add del mod">
          <ac:chgData name="Gabriele Zanoletti" userId="fc6666fa-3441-4ddc-a8b9-f69fbbdf5644" providerId="ADAL" clId="{F2571258-CC26-4B12-B833-E4A17A5DE9C1}" dt="2024-01-23T14:16:53.708" v="546" actId="478"/>
          <ac:picMkLst>
            <pc:docMk/>
            <pc:sldMk cId="4004401706" sldId="306"/>
            <ac:picMk id="6" creationId="{D46BF2C4-6B97-4315-1F26-FDA00C16B9E0}"/>
          </ac:picMkLst>
        </pc:picChg>
        <pc:picChg chg="add mod modCrop">
          <ac:chgData name="Gabriele Zanoletti" userId="fc6666fa-3441-4ddc-a8b9-f69fbbdf5644" providerId="ADAL" clId="{F2571258-CC26-4B12-B833-E4A17A5DE9C1}" dt="2024-01-24T11:56:11.253" v="10544" actId="1076"/>
          <ac:picMkLst>
            <pc:docMk/>
            <pc:sldMk cId="4004401706" sldId="306"/>
            <ac:picMk id="8" creationId="{0B11CBEA-F85C-2841-5511-88229035CB2D}"/>
          </ac:picMkLst>
        </pc:picChg>
        <pc:picChg chg="add del mod">
          <ac:chgData name="Gabriele Zanoletti" userId="fc6666fa-3441-4ddc-a8b9-f69fbbdf5644" providerId="ADAL" clId="{F2571258-CC26-4B12-B833-E4A17A5DE9C1}" dt="2024-01-24T09:44:48.244" v="6598" actId="478"/>
          <ac:picMkLst>
            <pc:docMk/>
            <pc:sldMk cId="4004401706" sldId="306"/>
            <ac:picMk id="8" creationId="{702EC50C-CEC2-086A-CB65-BDE3C3091EEE}"/>
          </ac:picMkLst>
        </pc:picChg>
        <pc:picChg chg="add del mod">
          <ac:chgData name="Gabriele Zanoletti" userId="fc6666fa-3441-4ddc-a8b9-f69fbbdf5644" providerId="ADAL" clId="{F2571258-CC26-4B12-B833-E4A17A5DE9C1}" dt="2024-01-23T14:17:42.678" v="554" actId="478"/>
          <ac:picMkLst>
            <pc:docMk/>
            <pc:sldMk cId="4004401706" sldId="306"/>
            <ac:picMk id="8" creationId="{FD176689-D28D-7DBC-C1B7-ECC0ACCE8680}"/>
          </ac:picMkLst>
        </pc:picChg>
        <pc:picChg chg="add del mod">
          <ac:chgData name="Gabriele Zanoletti" userId="fc6666fa-3441-4ddc-a8b9-f69fbbdf5644" providerId="ADAL" clId="{F2571258-CC26-4B12-B833-E4A17A5DE9C1}" dt="2024-01-23T19:02:25.653" v="3080" actId="478"/>
          <ac:picMkLst>
            <pc:docMk/>
            <pc:sldMk cId="4004401706" sldId="306"/>
            <ac:picMk id="10" creationId="{56FC5E3E-D166-F53D-7643-AD6657B22C6B}"/>
          </ac:picMkLst>
        </pc:picChg>
        <pc:picChg chg="add del mod modCrop">
          <ac:chgData name="Gabriele Zanoletti" userId="fc6666fa-3441-4ddc-a8b9-f69fbbdf5644" providerId="ADAL" clId="{F2571258-CC26-4B12-B833-E4A17A5DE9C1}" dt="2024-01-24T11:55:47.780" v="10535" actId="478"/>
          <ac:picMkLst>
            <pc:docMk/>
            <pc:sldMk cId="4004401706" sldId="306"/>
            <ac:picMk id="11" creationId="{22E9752A-3928-625E-2CBC-B8502127940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Gabriele Zanoletti" userId="fc6666fa-3441-4ddc-a8b9-f69fbbdf5644" providerId="ADAL" clId="{F2571258-CC26-4B12-B833-E4A17A5DE9C1}" dt="2024-01-23T19:02:25.661" v="3081" actId="2056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Gabriele Zanoletti" userId="fc6666fa-3441-4ddc-a8b9-f69fbbdf5644" providerId="ADAL" clId="{F2571258-CC26-4B12-B833-E4A17A5DE9C1}" dt="2024-01-23T17:00:40.557" v="3060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10CBCBC6-D26A-4DC3-90A4-AD696B3AAD03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09:58:48.139" v="7179" actId="20577"/>
        <pc:sldMkLst>
          <pc:docMk/>
          <pc:sldMk cId="3230328343" sldId="307"/>
        </pc:sldMkLst>
        <pc:spChg chg="mod">
          <ac:chgData name="Gabriele Zanoletti" userId="fc6666fa-3441-4ddc-a8b9-f69fbbdf5644" providerId="ADAL" clId="{F2571258-CC26-4B12-B833-E4A17A5DE9C1}" dt="2024-01-23T15:13:12.661" v="1462" actId="20577"/>
          <ac:spMkLst>
            <pc:docMk/>
            <pc:sldMk cId="3230328343" sldId="307"/>
            <ac:spMk id="2" creationId="{05CF7369-2F65-253A-B1C2-BBEA8D8E5792}"/>
          </ac:spMkLst>
        </pc:spChg>
        <pc:spChg chg="add mod">
          <ac:chgData name="Gabriele Zanoletti" userId="fc6666fa-3441-4ddc-a8b9-f69fbbdf5644" providerId="ADAL" clId="{F2571258-CC26-4B12-B833-E4A17A5DE9C1}" dt="2024-01-24T09:58:48.139" v="7179" actId="20577"/>
          <ac:spMkLst>
            <pc:docMk/>
            <pc:sldMk cId="3230328343" sldId="307"/>
            <ac:spMk id="5" creationId="{B07BC521-FBBA-7C9C-ACDD-A2475B3A821D}"/>
          </ac:spMkLst>
        </pc:spChg>
        <pc:picChg chg="add mod">
          <ac:chgData name="Gabriele Zanoletti" userId="fc6666fa-3441-4ddc-a8b9-f69fbbdf5644" providerId="ADAL" clId="{F2571258-CC26-4B12-B833-E4A17A5DE9C1}" dt="2024-01-24T09:55:03.231" v="6971" actId="1076"/>
          <ac:picMkLst>
            <pc:docMk/>
            <pc:sldMk cId="3230328343" sldId="307"/>
            <ac:picMk id="6" creationId="{9F48A76D-807C-C4A1-0F15-F6A6A11713ED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3T17:34:27.357" v="3079"/>
        <pc:sldMkLst>
          <pc:docMk/>
          <pc:sldMk cId="3362905413" sldId="308"/>
        </pc:sldMkLst>
        <pc:spChg chg="mod">
          <ac:chgData name="Gabriele Zanoletti" userId="fc6666fa-3441-4ddc-a8b9-f69fbbdf5644" providerId="ADAL" clId="{F2571258-CC26-4B12-B833-E4A17A5DE9C1}" dt="2024-01-23T15:13:19.638" v="1467" actId="20577"/>
          <ac:spMkLst>
            <pc:docMk/>
            <pc:sldMk cId="3362905413" sldId="308"/>
            <ac:spMk id="2" creationId="{EB4E5E96-B469-C391-2030-16DB28D7BF63}"/>
          </ac:spMkLst>
        </pc:spChg>
        <pc:picChg chg="add del mod">
          <ac:chgData name="Gabriele Zanoletti" userId="fc6666fa-3441-4ddc-a8b9-f69fbbdf5644" providerId="ADAL" clId="{F2571258-CC26-4B12-B833-E4A17A5DE9C1}" dt="2024-01-23T14:21:11.181" v="566" actId="478"/>
          <ac:picMkLst>
            <pc:docMk/>
            <pc:sldMk cId="3362905413" sldId="308"/>
            <ac:picMk id="6" creationId="{A69E4C12-3520-FAFD-EAB8-D21BF70D8DED}"/>
          </ac:picMkLst>
        </pc:picChg>
        <pc:picChg chg="add del mod">
          <ac:chgData name="Gabriele Zanoletti" userId="fc6666fa-3441-4ddc-a8b9-f69fbbdf5644" providerId="ADAL" clId="{F2571258-CC26-4B12-B833-E4A17A5DE9C1}" dt="2024-01-23T14:26:39.598" v="572" actId="478"/>
          <ac:picMkLst>
            <pc:docMk/>
            <pc:sldMk cId="3362905413" sldId="308"/>
            <ac:picMk id="8" creationId="{6D5552F2-569F-8494-2828-378AD2EB2FB9}"/>
          </ac:picMkLst>
        </pc:picChg>
        <pc:picChg chg="add mod">
          <ac:chgData name="Gabriele Zanoletti" userId="fc6666fa-3441-4ddc-a8b9-f69fbbdf5644" providerId="ADAL" clId="{F2571258-CC26-4B12-B833-E4A17A5DE9C1}" dt="2024-01-23T17:33:54.428" v="3078" actId="14826"/>
          <ac:picMkLst>
            <pc:docMk/>
            <pc:sldMk cId="3362905413" sldId="308"/>
            <ac:picMk id="10" creationId="{2E545020-29B7-C7CA-1AAD-222427B629D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3T17:34:27.357" v="3079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Gabriele Zanoletti" userId="fc6666fa-3441-4ddc-a8b9-f69fbbdf5644" providerId="ADAL" clId="{F2571258-CC26-4B12-B833-E4A17A5DE9C1}" dt="2024-01-23T17:34:27.357" v="307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03C6E0D-32C9-40AB-B463-EC99AADB7F39}"/>
                </pc2:cmRplyMkLst>
              </pc226:cmRplyChg>
            </pc226:cmChg>
          </p:ext>
        </pc:extLst>
      </pc:sldChg>
      <pc:sldChg chg="addSp modSp new mod">
        <pc:chgData name="Gabriele Zanoletti" userId="fc6666fa-3441-4ddc-a8b9-f69fbbdf5644" providerId="ADAL" clId="{F2571258-CC26-4B12-B833-E4A17A5DE9C1}" dt="2024-01-24T10:40:06.710" v="8116" actId="313"/>
        <pc:sldMkLst>
          <pc:docMk/>
          <pc:sldMk cId="1862611760" sldId="309"/>
        </pc:sldMkLst>
        <pc:spChg chg="mod">
          <ac:chgData name="Gabriele Zanoletti" userId="fc6666fa-3441-4ddc-a8b9-f69fbbdf5644" providerId="ADAL" clId="{F2571258-CC26-4B12-B833-E4A17A5DE9C1}" dt="2024-01-23T15:15:15.885" v="1638" actId="20577"/>
          <ac:spMkLst>
            <pc:docMk/>
            <pc:sldMk cId="1862611760" sldId="309"/>
            <ac:spMk id="2" creationId="{F25E1798-44B9-E9A7-1C0B-8AB32CAA377B}"/>
          </ac:spMkLst>
        </pc:spChg>
        <pc:spChg chg="add mod">
          <ac:chgData name="Gabriele Zanoletti" userId="fc6666fa-3441-4ddc-a8b9-f69fbbdf5644" providerId="ADAL" clId="{F2571258-CC26-4B12-B833-E4A17A5DE9C1}" dt="2024-01-24T10:40:06.710" v="8116" actId="313"/>
          <ac:spMkLst>
            <pc:docMk/>
            <pc:sldMk cId="1862611760" sldId="309"/>
            <ac:spMk id="5" creationId="{AC4238AF-2DF0-4FA6-1538-779A98CF0F5A}"/>
          </ac:spMkLst>
        </pc:spChg>
        <pc:picChg chg="add mod">
          <ac:chgData name="Gabriele Zanoletti" userId="fc6666fa-3441-4ddc-a8b9-f69fbbdf5644" providerId="ADAL" clId="{F2571258-CC26-4B12-B833-E4A17A5DE9C1}" dt="2024-01-24T10:32:26.434" v="7782" actId="1076"/>
          <ac:picMkLst>
            <pc:docMk/>
            <pc:sldMk cId="1862611760" sldId="309"/>
            <ac:picMk id="6" creationId="{E38F384D-7679-9600-6C38-1A48348F88B8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12:32.128" v="7777" actId="14100"/>
        <pc:sldMkLst>
          <pc:docMk/>
          <pc:sldMk cId="3056404990" sldId="310"/>
        </pc:sldMkLst>
        <pc:spChg chg="mod">
          <ac:chgData name="Gabriele Zanoletti" userId="fc6666fa-3441-4ddc-a8b9-f69fbbdf5644" providerId="ADAL" clId="{F2571258-CC26-4B12-B833-E4A17A5DE9C1}" dt="2024-01-23T15:15:08.300" v="1617" actId="20577"/>
          <ac:spMkLst>
            <pc:docMk/>
            <pc:sldMk cId="3056404990" sldId="310"/>
            <ac:spMk id="2" creationId="{662082BB-C9A7-C989-B91F-7342A9ACB82B}"/>
          </ac:spMkLst>
        </pc:spChg>
        <pc:spChg chg="add del">
          <ac:chgData name="Gabriele Zanoletti" userId="fc6666fa-3441-4ddc-a8b9-f69fbbdf5644" providerId="ADAL" clId="{F2571258-CC26-4B12-B833-E4A17A5DE9C1}" dt="2024-01-24T10:11:11.015" v="7750" actId="22"/>
          <ac:spMkLst>
            <pc:docMk/>
            <pc:sldMk cId="3056404990" sldId="310"/>
            <ac:spMk id="8" creationId="{214874CB-D05D-008E-5720-1344FECA71D4}"/>
          </ac:spMkLst>
        </pc:spChg>
        <pc:spChg chg="add del">
          <ac:chgData name="Gabriele Zanoletti" userId="fc6666fa-3441-4ddc-a8b9-f69fbbdf5644" providerId="ADAL" clId="{F2571258-CC26-4B12-B833-E4A17A5DE9C1}" dt="2024-01-24T10:11:12.850" v="7752" actId="22"/>
          <ac:spMkLst>
            <pc:docMk/>
            <pc:sldMk cId="3056404990" sldId="310"/>
            <ac:spMk id="10" creationId="{205B5BEC-1981-9691-B9A5-E5B31C93FFE7}"/>
          </ac:spMkLst>
        </pc:spChg>
        <pc:spChg chg="add del">
          <ac:chgData name="Gabriele Zanoletti" userId="fc6666fa-3441-4ddc-a8b9-f69fbbdf5644" providerId="ADAL" clId="{F2571258-CC26-4B12-B833-E4A17A5DE9C1}" dt="2024-01-24T10:11:16.057" v="7754" actId="478"/>
          <ac:spMkLst>
            <pc:docMk/>
            <pc:sldMk cId="3056404990" sldId="310"/>
            <ac:spMk id="12" creationId="{510AD54C-2317-C9DE-C41E-C96D489B1572}"/>
          </ac:spMkLst>
        </pc:spChg>
        <pc:spChg chg="add mod">
          <ac:chgData name="Gabriele Zanoletti" userId="fc6666fa-3441-4ddc-a8b9-f69fbbdf5644" providerId="ADAL" clId="{F2571258-CC26-4B12-B833-E4A17A5DE9C1}" dt="2024-01-24T10:11:51.284" v="7765" actId="14100"/>
          <ac:spMkLst>
            <pc:docMk/>
            <pc:sldMk cId="3056404990" sldId="310"/>
            <ac:spMk id="13" creationId="{1EB651DB-6E78-D1E3-DD02-943BEADAAD28}"/>
          </ac:spMkLst>
        </pc:spChg>
        <pc:picChg chg="add mod">
          <ac:chgData name="Gabriele Zanoletti" userId="fc6666fa-3441-4ddc-a8b9-f69fbbdf5644" providerId="ADAL" clId="{F2571258-CC26-4B12-B833-E4A17A5DE9C1}" dt="2024-01-24T10:12:29.232" v="7776" actId="1076"/>
          <ac:picMkLst>
            <pc:docMk/>
            <pc:sldMk cId="3056404990" sldId="310"/>
            <ac:picMk id="5" creationId="{5E7B7270-F1F7-83FD-94CF-80C6A80F7EA5}"/>
          </ac:picMkLst>
        </pc:picChg>
        <pc:picChg chg="add mod">
          <ac:chgData name="Gabriele Zanoletti" userId="fc6666fa-3441-4ddc-a8b9-f69fbbdf5644" providerId="ADAL" clId="{F2571258-CC26-4B12-B833-E4A17A5DE9C1}" dt="2024-01-24T10:12:32.128" v="7777" actId="14100"/>
          <ac:picMkLst>
            <pc:docMk/>
            <pc:sldMk cId="3056404990" sldId="310"/>
            <ac:picMk id="6" creationId="{DB30A713-440A-A7EE-B596-7CAF70824DE2}"/>
          </ac:picMkLst>
        </pc:picChg>
      </pc:sldChg>
      <pc:sldChg chg="addSp delSp modSp new mod ord">
        <pc:chgData name="Gabriele Zanoletti" userId="fc6666fa-3441-4ddc-a8b9-f69fbbdf5644" providerId="ADAL" clId="{F2571258-CC26-4B12-B833-E4A17A5DE9C1}" dt="2024-01-24T10:10:31.814" v="7746" actId="207"/>
        <pc:sldMkLst>
          <pc:docMk/>
          <pc:sldMk cId="3396422946" sldId="311"/>
        </pc:sldMkLst>
        <pc:spChg chg="mod">
          <ac:chgData name="Gabriele Zanoletti" userId="fc6666fa-3441-4ddc-a8b9-f69fbbdf5644" providerId="ADAL" clId="{F2571258-CC26-4B12-B833-E4A17A5DE9C1}" dt="2024-01-23T15:15:05.988" v="1616" actId="20577"/>
          <ac:spMkLst>
            <pc:docMk/>
            <pc:sldMk cId="3396422946" sldId="311"/>
            <ac:spMk id="2" creationId="{9A16C503-7AFD-C031-469E-EA35F5B3BDC7}"/>
          </ac:spMkLst>
        </pc:spChg>
        <pc:spChg chg="add mod">
          <ac:chgData name="Gabriele Zanoletti" userId="fc6666fa-3441-4ddc-a8b9-f69fbbdf5644" providerId="ADAL" clId="{F2571258-CC26-4B12-B833-E4A17A5DE9C1}" dt="2024-01-24T10:02:52.287" v="7307" actId="1036"/>
          <ac:spMkLst>
            <pc:docMk/>
            <pc:sldMk cId="3396422946" sldId="311"/>
            <ac:spMk id="5" creationId="{489319FF-61D4-FFD6-5A12-DF8EB4FACE5E}"/>
          </ac:spMkLst>
        </pc:spChg>
        <pc:spChg chg="add mod">
          <ac:chgData name="Gabriele Zanoletti" userId="fc6666fa-3441-4ddc-a8b9-f69fbbdf5644" providerId="ADAL" clId="{F2571258-CC26-4B12-B833-E4A17A5DE9C1}" dt="2024-01-24T10:03:14.639" v="7344" actId="20577"/>
          <ac:spMkLst>
            <pc:docMk/>
            <pc:sldMk cId="3396422946" sldId="311"/>
            <ac:spMk id="6" creationId="{99DE8857-3F24-E736-FFD4-27CB50E401E4}"/>
          </ac:spMkLst>
        </pc:spChg>
        <pc:spChg chg="add mod">
          <ac:chgData name="Gabriele Zanoletti" userId="fc6666fa-3441-4ddc-a8b9-f69fbbdf5644" providerId="ADAL" clId="{F2571258-CC26-4B12-B833-E4A17A5DE9C1}" dt="2024-01-24T10:04:00.934" v="7359" actId="1076"/>
          <ac:spMkLst>
            <pc:docMk/>
            <pc:sldMk cId="3396422946" sldId="311"/>
            <ac:spMk id="7" creationId="{164AD2CD-174E-83C8-0CD8-721C5312C3A8}"/>
          </ac:spMkLst>
        </pc:spChg>
        <pc:spChg chg="add mod">
          <ac:chgData name="Gabriele Zanoletti" userId="fc6666fa-3441-4ddc-a8b9-f69fbbdf5644" providerId="ADAL" clId="{F2571258-CC26-4B12-B833-E4A17A5DE9C1}" dt="2024-01-24T10:04:18" v="7363" actId="1038"/>
          <ac:spMkLst>
            <pc:docMk/>
            <pc:sldMk cId="3396422946" sldId="311"/>
            <ac:spMk id="8" creationId="{AF11ED59-1850-5721-B1B2-ACE017227103}"/>
          </ac:spMkLst>
        </pc:spChg>
        <pc:spChg chg="add del mod">
          <ac:chgData name="Gabriele Zanoletti" userId="fc6666fa-3441-4ddc-a8b9-f69fbbdf5644" providerId="ADAL" clId="{F2571258-CC26-4B12-B833-E4A17A5DE9C1}" dt="2024-01-24T10:09:24.738" v="7740" actId="478"/>
          <ac:spMkLst>
            <pc:docMk/>
            <pc:sldMk cId="3396422946" sldId="311"/>
            <ac:spMk id="9" creationId="{AAC223F9-24D6-F806-4577-65D1B706DE83}"/>
          </ac:spMkLst>
        </pc:spChg>
        <pc:spChg chg="add del mod">
          <ac:chgData name="Gabriele Zanoletti" userId="fc6666fa-3441-4ddc-a8b9-f69fbbdf5644" providerId="ADAL" clId="{F2571258-CC26-4B12-B833-E4A17A5DE9C1}" dt="2024-01-24T10:08:11.590" v="7732" actId="478"/>
          <ac:spMkLst>
            <pc:docMk/>
            <pc:sldMk cId="3396422946" sldId="311"/>
            <ac:spMk id="10" creationId="{31F4EA30-EB98-7C09-03CF-D4D44F75932C}"/>
          </ac:spMkLst>
        </pc:spChg>
        <pc:spChg chg="add mod">
          <ac:chgData name="Gabriele Zanoletti" userId="fc6666fa-3441-4ddc-a8b9-f69fbbdf5644" providerId="ADAL" clId="{F2571258-CC26-4B12-B833-E4A17A5DE9C1}" dt="2024-01-24T10:10:31.814" v="7746" actId="207"/>
          <ac:spMkLst>
            <pc:docMk/>
            <pc:sldMk cId="3396422946" sldId="311"/>
            <ac:spMk id="11" creationId="{0D913705-906C-0EEC-DAD0-E6B0358AD453}"/>
          </ac:spMkLst>
        </pc:spChg>
        <pc:spChg chg="add mod">
          <ac:chgData name="Gabriele Zanoletti" userId="fc6666fa-3441-4ddc-a8b9-f69fbbdf5644" providerId="ADAL" clId="{F2571258-CC26-4B12-B833-E4A17A5DE9C1}" dt="2024-01-24T10:09:37.591" v="7745"/>
          <ac:spMkLst>
            <pc:docMk/>
            <pc:sldMk cId="3396422946" sldId="311"/>
            <ac:spMk id="12" creationId="{C91EEDA4-E230-6BA2-18DA-987EEF933623}"/>
          </ac:spMkLst>
        </pc:sp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6" creationId="{683672E5-5E85-AC7C-5BFE-7727E800B95C}"/>
          </ac:picMkLst>
        </pc:picChg>
        <pc:picChg chg="add mod">
          <ac:chgData name="Gabriele Zanoletti" userId="fc6666fa-3441-4ddc-a8b9-f69fbbdf5644" providerId="ADAL" clId="{F2571258-CC26-4B12-B833-E4A17A5DE9C1}" dt="2024-01-23T14:33:31.817" v="595" actId="1076"/>
          <ac:picMkLst>
            <pc:docMk/>
            <pc:sldMk cId="3396422946" sldId="311"/>
            <ac:picMk id="8" creationId="{E903D300-5AAB-6B6C-8C2B-60B22BF5044A}"/>
          </ac:picMkLst>
        </pc:picChg>
        <pc:picChg chg="add mod">
          <ac:chgData name="Gabriele Zanoletti" userId="fc6666fa-3441-4ddc-a8b9-f69fbbdf5644" providerId="ADAL" clId="{F2571258-CC26-4B12-B833-E4A17A5DE9C1}" dt="2024-01-23T14:33:32.400" v="596" actId="1076"/>
          <ac:picMkLst>
            <pc:docMk/>
            <pc:sldMk cId="3396422946" sldId="311"/>
            <ac:picMk id="10" creationId="{6835F376-4F03-1778-3727-05F4CF48EAC0}"/>
          </ac:picMkLst>
        </pc:picChg>
        <pc:picChg chg="add mod">
          <ac:chgData name="Gabriele Zanoletti" userId="fc6666fa-3441-4ddc-a8b9-f69fbbdf5644" providerId="ADAL" clId="{F2571258-CC26-4B12-B833-E4A17A5DE9C1}" dt="2024-01-23T14:33:24.134" v="592"/>
          <ac:picMkLst>
            <pc:docMk/>
            <pc:sldMk cId="3396422946" sldId="311"/>
            <ac:picMk id="12" creationId="{4348A8C8-32BF-C265-241D-8F7923D0043F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14" creationId="{8283BE16-B21A-858E-A611-039B3511E38B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6" creationId="{8BB9BB2C-E93E-631F-51D4-D3C5500AAFE9}"/>
          </ac:picMkLst>
        </pc:picChg>
        <pc:picChg chg="add mod">
          <ac:chgData name="Gabriele Zanoletti" userId="fc6666fa-3441-4ddc-a8b9-f69fbbdf5644" providerId="ADAL" clId="{F2571258-CC26-4B12-B833-E4A17A5DE9C1}" dt="2024-01-24T10:03:22.927" v="7354" actId="1036"/>
          <ac:picMkLst>
            <pc:docMk/>
            <pc:sldMk cId="3396422946" sldId="311"/>
            <ac:picMk id="18" creationId="{B2715800-E525-7562-CD49-D3A8D2FA632E}"/>
          </ac:picMkLst>
        </pc:picChg>
        <pc:picChg chg="add mod">
          <ac:chgData name="Gabriele Zanoletti" userId="fc6666fa-3441-4ddc-a8b9-f69fbbdf5644" providerId="ADAL" clId="{F2571258-CC26-4B12-B833-E4A17A5DE9C1}" dt="2024-01-24T10:02:59.863" v="7322" actId="1036"/>
          <ac:picMkLst>
            <pc:docMk/>
            <pc:sldMk cId="3396422946" sldId="311"/>
            <ac:picMk id="20" creationId="{52BEAF40-B94A-FA4E-4427-929F75B6FBDA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0:01:00.895" v="7195" actId="5793"/>
        <pc:sldMkLst>
          <pc:docMk/>
          <pc:sldMk cId="1829445697" sldId="312"/>
        </pc:sldMkLst>
        <pc:spChg chg="mod">
          <ac:chgData name="Gabriele Zanoletti" userId="fc6666fa-3441-4ddc-a8b9-f69fbbdf5644" providerId="ADAL" clId="{F2571258-CC26-4B12-B833-E4A17A5DE9C1}" dt="2024-01-23T15:15:03.068" v="1615" actId="20577"/>
          <ac:spMkLst>
            <pc:docMk/>
            <pc:sldMk cId="1829445697" sldId="312"/>
            <ac:spMk id="2" creationId="{793736D8-6786-EB55-F087-EB850260E505}"/>
          </ac:spMkLst>
        </pc:spChg>
        <pc:spChg chg="add mod">
          <ac:chgData name="Gabriele Zanoletti" userId="fc6666fa-3441-4ddc-a8b9-f69fbbdf5644" providerId="ADAL" clId="{F2571258-CC26-4B12-B833-E4A17A5DE9C1}" dt="2024-01-24T09:59:37.445" v="7182"/>
          <ac:spMkLst>
            <pc:docMk/>
            <pc:sldMk cId="1829445697" sldId="312"/>
            <ac:spMk id="5" creationId="{CB9F662C-B761-0335-F627-7FA310D406BE}"/>
          </ac:spMkLst>
        </pc:spChg>
        <pc:spChg chg="add mod">
          <ac:chgData name="Gabriele Zanoletti" userId="fc6666fa-3441-4ddc-a8b9-f69fbbdf5644" providerId="ADAL" clId="{F2571258-CC26-4B12-B833-E4A17A5DE9C1}" dt="2024-01-24T10:01:00.895" v="7195" actId="5793"/>
          <ac:spMkLst>
            <pc:docMk/>
            <pc:sldMk cId="1829445697" sldId="312"/>
            <ac:spMk id="8" creationId="{DD7A76E7-5E98-B5DE-0283-D33AF8F5ABFF}"/>
          </ac:spMkLst>
        </pc:spChg>
        <pc:picChg chg="add mod modCrop">
          <ac:chgData name="Gabriele Zanoletti" userId="fc6666fa-3441-4ddc-a8b9-f69fbbdf5644" providerId="ADAL" clId="{F2571258-CC26-4B12-B833-E4A17A5DE9C1}" dt="2024-01-24T09:59:48.809" v="7186" actId="1076"/>
          <ac:picMkLst>
            <pc:docMk/>
            <pc:sldMk cId="1829445697" sldId="312"/>
            <ac:picMk id="6" creationId="{98E5343E-8EAB-3F9C-2395-6AE0E7D9D570}"/>
          </ac:picMkLst>
        </pc:picChg>
        <pc:picChg chg="add">
          <ac:chgData name="Gabriele Zanoletti" userId="fc6666fa-3441-4ddc-a8b9-f69fbbdf5644" providerId="ADAL" clId="{F2571258-CC26-4B12-B833-E4A17A5DE9C1}" dt="2024-01-24T09:59:37.507" v="7183"/>
          <ac:picMkLst>
            <pc:docMk/>
            <pc:sldMk cId="1829445697" sldId="312"/>
            <ac:picMk id="7" creationId="{E33D72CA-A121-A80B-DA8F-52A1AA6C39AF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3T14:37:03.204" v="629" actId="1076"/>
        <pc:sldMkLst>
          <pc:docMk/>
          <pc:sldMk cId="4109715435" sldId="313"/>
        </pc:sldMkLst>
        <pc:picChg chg="add mod">
          <ac:chgData name="Gabriele Zanoletti" userId="fc6666fa-3441-4ddc-a8b9-f69fbbdf5644" providerId="ADAL" clId="{F2571258-CC26-4B12-B833-E4A17A5DE9C1}" dt="2024-01-23T14:37:03.204" v="629" actId="1076"/>
          <ac:picMkLst>
            <pc:docMk/>
            <pc:sldMk cId="4109715435" sldId="313"/>
            <ac:picMk id="6" creationId="{081E3E13-A1F1-4FF3-9F97-8D0431E79976}"/>
          </ac:picMkLst>
        </pc:picChg>
      </pc:sldChg>
      <pc:sldChg chg="addSp modSp new mod">
        <pc:chgData name="Gabriele Zanoletti" userId="fc6666fa-3441-4ddc-a8b9-f69fbbdf5644" providerId="ADAL" clId="{F2571258-CC26-4B12-B833-E4A17A5DE9C1}" dt="2024-01-24T11:09:54.271" v="9319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2571258-CC26-4B12-B833-E4A17A5DE9C1}" dt="2024-01-23T15:16:52.414" v="1674" actId="20577"/>
          <ac:spMkLst>
            <pc:docMk/>
            <pc:sldMk cId="2059814184" sldId="314"/>
            <ac:spMk id="2" creationId="{509CB6E0-7C4E-FA68-855F-FA3F11EF009A}"/>
          </ac:spMkLst>
        </pc:spChg>
        <pc:spChg chg="add mod">
          <ac:chgData name="Gabriele Zanoletti" userId="fc6666fa-3441-4ddc-a8b9-f69fbbdf5644" providerId="ADAL" clId="{F2571258-CC26-4B12-B833-E4A17A5DE9C1}" dt="2024-01-24T11:09:54.271" v="9319" actId="20577"/>
          <ac:spMkLst>
            <pc:docMk/>
            <pc:sldMk cId="2059814184" sldId="314"/>
            <ac:spMk id="5" creationId="{455070FB-8C32-F7F3-CE34-8A53AF8479B2}"/>
          </ac:spMkLst>
        </pc:spChg>
        <pc:picChg chg="add mod">
          <ac:chgData name="Gabriele Zanoletti" userId="fc6666fa-3441-4ddc-a8b9-f69fbbdf5644" providerId="ADAL" clId="{F2571258-CC26-4B12-B833-E4A17A5DE9C1}" dt="2024-01-24T10:50:37.420" v="8584" actId="1038"/>
          <ac:picMkLst>
            <pc:docMk/>
            <pc:sldMk cId="2059814184" sldId="314"/>
            <ac:picMk id="6" creationId="{4B972F37-FC92-BB03-CCE4-48CFD677FE9A}"/>
          </ac:picMkLst>
        </pc:picChg>
        <pc:picChg chg="add mod">
          <ac:chgData name="Gabriele Zanoletti" userId="fc6666fa-3441-4ddc-a8b9-f69fbbdf5644" providerId="ADAL" clId="{F2571258-CC26-4B12-B833-E4A17A5DE9C1}" dt="2024-01-24T10:50:11.535" v="8565" actId="1076"/>
          <ac:picMkLst>
            <pc:docMk/>
            <pc:sldMk cId="2059814184" sldId="314"/>
            <ac:picMk id="7" creationId="{167B2A6D-40F8-948F-400B-BA790A343BDB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0:59:33.873" v="8728" actId="1076"/>
        <pc:sldMkLst>
          <pc:docMk/>
          <pc:sldMk cId="3439177903" sldId="315"/>
        </pc:sldMkLst>
        <pc:spChg chg="mod">
          <ac:chgData name="Gabriele Zanoletti" userId="fc6666fa-3441-4ddc-a8b9-f69fbbdf5644" providerId="ADAL" clId="{F2571258-CC26-4B12-B833-E4A17A5DE9C1}" dt="2024-01-23T15:16:55.589" v="1675" actId="20577"/>
          <ac:spMkLst>
            <pc:docMk/>
            <pc:sldMk cId="3439177903" sldId="315"/>
            <ac:spMk id="2" creationId="{269EADC7-9785-5346-94A3-EAE0A512B506}"/>
          </ac:spMkLst>
        </pc:spChg>
        <pc:spChg chg="add del mod">
          <ac:chgData name="Gabriele Zanoletti" userId="fc6666fa-3441-4ddc-a8b9-f69fbbdf5644" providerId="ADAL" clId="{F2571258-CC26-4B12-B833-E4A17A5DE9C1}" dt="2024-01-24T10:55:03.060" v="8602" actId="478"/>
          <ac:spMkLst>
            <pc:docMk/>
            <pc:sldMk cId="3439177903" sldId="315"/>
            <ac:spMk id="5" creationId="{3FE6A5CD-F0FE-705A-0A93-81EB7DCD9F12}"/>
          </ac:spMkLst>
        </pc:spChg>
        <pc:spChg chg="del">
          <ac:chgData name="Gabriele Zanoletti" userId="fc6666fa-3441-4ddc-a8b9-f69fbbdf5644" providerId="ADAL" clId="{F2571258-CC26-4B12-B833-E4A17A5DE9C1}" dt="2024-01-24T10:51:26.861" v="8598" actId="478"/>
          <ac:spMkLst>
            <pc:docMk/>
            <pc:sldMk cId="3439177903" sldId="315"/>
            <ac:spMk id="7" creationId="{C4C8B730-7D2A-5B96-CC9D-40BB7627C92F}"/>
          </ac:spMkLst>
        </pc:spChg>
        <pc:spChg chg="add mod">
          <ac:chgData name="Gabriele Zanoletti" userId="fc6666fa-3441-4ddc-a8b9-f69fbbdf5644" providerId="ADAL" clId="{F2571258-CC26-4B12-B833-E4A17A5DE9C1}" dt="2024-01-24T10:59:33.873" v="8728" actId="1076"/>
          <ac:spMkLst>
            <pc:docMk/>
            <pc:sldMk cId="3439177903" sldId="315"/>
            <ac:spMk id="9" creationId="{CA8D1E0E-88C4-4524-2B2A-FAD48C3791E6}"/>
          </ac:spMkLst>
        </pc:spChg>
        <pc:picChg chg="add mod">
          <ac:chgData name="Gabriele Zanoletti" userId="fc6666fa-3441-4ddc-a8b9-f69fbbdf5644" providerId="ADAL" clId="{F2571258-CC26-4B12-B833-E4A17A5DE9C1}" dt="2024-01-24T10:59:29.928" v="8726" actId="1076"/>
          <ac:picMkLst>
            <pc:docMk/>
            <pc:sldMk cId="3439177903" sldId="315"/>
            <ac:picMk id="6" creationId="{214EBBD2-EB0F-7D0A-E235-25CCBE080207}"/>
          </ac:picMkLst>
        </pc:picChg>
      </pc:sldChg>
      <pc:sldChg chg="addSp delSp modSp new mod modCm">
        <pc:chgData name="Gabriele Zanoletti" userId="fc6666fa-3441-4ddc-a8b9-f69fbbdf5644" providerId="ADAL" clId="{F2571258-CC26-4B12-B833-E4A17A5DE9C1}" dt="2024-01-24T11:22:28.885" v="9725" actId="404"/>
        <pc:sldMkLst>
          <pc:docMk/>
          <pc:sldMk cId="2060001824" sldId="316"/>
        </pc:sldMkLst>
        <pc:spChg chg="mod">
          <ac:chgData name="Gabriele Zanoletti" userId="fc6666fa-3441-4ddc-a8b9-f69fbbdf5644" providerId="ADAL" clId="{F2571258-CC26-4B12-B833-E4A17A5DE9C1}" dt="2024-01-23T15:17:18.311" v="1708" actId="20577"/>
          <ac:spMkLst>
            <pc:docMk/>
            <pc:sldMk cId="2060001824" sldId="316"/>
            <ac:spMk id="2" creationId="{A756B1FB-9540-2596-7D4B-27C539B10990}"/>
          </ac:spMkLst>
        </pc:spChg>
        <pc:spChg chg="add mod">
          <ac:chgData name="Gabriele Zanoletti" userId="fc6666fa-3441-4ddc-a8b9-f69fbbdf5644" providerId="ADAL" clId="{F2571258-CC26-4B12-B833-E4A17A5DE9C1}" dt="2024-01-24T11:22:28.885" v="9725" actId="404"/>
          <ac:spMkLst>
            <pc:docMk/>
            <pc:sldMk cId="2060001824" sldId="316"/>
            <ac:spMk id="5" creationId="{4D8C1AFE-9FC8-D964-65F9-2D18A5E0163C}"/>
          </ac:spMkLst>
        </pc:spChg>
        <pc:picChg chg="add del mod">
          <ac:chgData name="Gabriele Zanoletti" userId="fc6666fa-3441-4ddc-a8b9-f69fbbdf5644" providerId="ADAL" clId="{F2571258-CC26-4B12-B833-E4A17A5DE9C1}" dt="2024-01-23T14:46:02.916" v="668" actId="21"/>
          <ac:picMkLst>
            <pc:docMk/>
            <pc:sldMk cId="2060001824" sldId="316"/>
            <ac:picMk id="6" creationId="{BBFA030D-017B-5F47-AC86-5F3EC5699C5E}"/>
          </ac:picMkLst>
        </pc:picChg>
        <pc:picChg chg="add mod modCrop">
          <ac:chgData name="Gabriele Zanoletti" userId="fc6666fa-3441-4ddc-a8b9-f69fbbdf5644" providerId="ADAL" clId="{F2571258-CC26-4B12-B833-E4A17A5DE9C1}" dt="2024-01-23T14:42:58.147" v="666" actId="14100"/>
          <ac:picMkLst>
            <pc:docMk/>
            <pc:sldMk cId="2060001824" sldId="316"/>
            <ac:picMk id="8" creationId="{55F14D0B-A156-44FC-A549-437B4755EDF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49:01.924" v="3117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add">
                <pc226:chgData name="Gabriele Zanoletti" userId="fc6666fa-3441-4ddc-a8b9-f69fbbdf5644" providerId="ADAL" clId="{F2571258-CC26-4B12-B833-E4A17A5DE9C1}" dt="2024-01-24T07:49:01.924" v="3117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">
              <pc226:chgData name="Gabriele Zanoletti" userId="fc6666fa-3441-4ddc-a8b9-f69fbbdf5644" providerId="ADAL" clId="{F2571258-CC26-4B12-B833-E4A17A5DE9C1}" dt="2024-01-24T07:50:07.560" v="3118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Gabriele Zanoletti" userId="fc6666fa-3441-4ddc-a8b9-f69fbbdf5644" providerId="ADAL" clId="{F2571258-CC26-4B12-B833-E4A17A5DE9C1}" dt="2024-01-24T07:50:07.560" v="3118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B28AADC6-06C5-4841-A1E0-3C2EEA1A0452}"/>
                </pc2:cmRplyMkLst>
              </pc226:cmRplyChg>
            </pc226:cmChg>
          </p:ext>
        </pc:extLst>
      </pc:sldChg>
      <pc:sldChg chg="addSp delSp modSp new mod ord">
        <pc:chgData name="Gabriele Zanoletti" userId="fc6666fa-3441-4ddc-a8b9-f69fbbdf5644" providerId="ADAL" clId="{F2571258-CC26-4B12-B833-E4A17A5DE9C1}" dt="2024-01-24T11:07:26.350" v="9227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F2571258-CC26-4B12-B833-E4A17A5DE9C1}" dt="2024-01-23T15:17:30.242" v="1726" actId="20577"/>
          <ac:spMkLst>
            <pc:docMk/>
            <pc:sldMk cId="4110969131" sldId="317"/>
            <ac:spMk id="2" creationId="{A22F9CB1-AC90-8475-C8E1-97FF6580DE7E}"/>
          </ac:spMkLst>
        </pc:spChg>
        <pc:spChg chg="add mod">
          <ac:chgData name="Gabriele Zanoletti" userId="fc6666fa-3441-4ddc-a8b9-f69fbbdf5644" providerId="ADAL" clId="{F2571258-CC26-4B12-B833-E4A17A5DE9C1}" dt="2024-01-24T11:07:26.350" v="9227" actId="20577"/>
          <ac:spMkLst>
            <pc:docMk/>
            <pc:sldMk cId="4110969131" sldId="317"/>
            <ac:spMk id="5" creationId="{457659C7-3B83-6EE4-1CF7-171FEED7DAF4}"/>
          </ac:spMkLst>
        </pc:spChg>
        <pc:picChg chg="add mod">
          <ac:chgData name="Gabriele Zanoletti" userId="fc6666fa-3441-4ddc-a8b9-f69fbbdf5644" providerId="ADAL" clId="{F2571258-CC26-4B12-B833-E4A17A5DE9C1}" dt="2024-01-24T11:05:28.964" v="9144" actId="1076"/>
          <ac:picMkLst>
            <pc:docMk/>
            <pc:sldMk cId="4110969131" sldId="317"/>
            <ac:picMk id="6" creationId="{BBFA030D-017B-5F47-AC86-5F3EC5699C5E}"/>
          </ac:picMkLst>
        </pc:picChg>
        <pc:picChg chg="add del mod">
          <ac:chgData name="Gabriele Zanoletti" userId="fc6666fa-3441-4ddc-a8b9-f69fbbdf5644" providerId="ADAL" clId="{F2571258-CC26-4B12-B833-E4A17A5DE9C1}" dt="2024-01-23T14:50:42.804" v="678" actId="478"/>
          <ac:picMkLst>
            <pc:docMk/>
            <pc:sldMk cId="4110969131" sldId="317"/>
            <ac:picMk id="7" creationId="{85FF7DE4-E84D-4696-A8DC-720E48C7C718}"/>
          </ac:picMkLst>
        </pc:picChg>
      </pc:sldChg>
      <pc:sldChg chg="addSp modSp new del mod">
        <pc:chgData name="Gabriele Zanoletti" userId="fc6666fa-3441-4ddc-a8b9-f69fbbdf5644" providerId="ADAL" clId="{F2571258-CC26-4B12-B833-E4A17A5DE9C1}" dt="2024-01-23T14:52:39.790" v="696" actId="47"/>
        <pc:sldMkLst>
          <pc:docMk/>
          <pc:sldMk cId="989667037" sldId="318"/>
        </pc:sldMkLst>
        <pc:picChg chg="add mod modCrop">
          <ac:chgData name="Gabriele Zanoletti" userId="fc6666fa-3441-4ddc-a8b9-f69fbbdf5644" providerId="ADAL" clId="{F2571258-CC26-4B12-B833-E4A17A5DE9C1}" dt="2024-01-23T14:51:17.704" v="689" actId="14100"/>
          <ac:picMkLst>
            <pc:docMk/>
            <pc:sldMk cId="989667037" sldId="318"/>
            <ac:picMk id="6" creationId="{706280E7-5456-BA43-0719-118F97AE59B9}"/>
          </ac:picMkLst>
        </pc:picChg>
      </pc:sldChg>
      <pc:sldChg chg="addSp delSp modSp add mod">
        <pc:chgData name="Gabriele Zanoletti" userId="fc6666fa-3441-4ddc-a8b9-f69fbbdf5644" providerId="ADAL" clId="{F2571258-CC26-4B12-B833-E4A17A5DE9C1}" dt="2024-01-24T11:27:36.464" v="9936" actId="20577"/>
        <pc:sldMkLst>
          <pc:docMk/>
          <pc:sldMk cId="2600840893" sldId="319"/>
        </pc:sldMkLst>
        <pc:spChg chg="mod">
          <ac:chgData name="Gabriele Zanoletti" userId="fc6666fa-3441-4ddc-a8b9-f69fbbdf5644" providerId="ADAL" clId="{F2571258-CC26-4B12-B833-E4A17A5DE9C1}" dt="2024-01-23T15:17:49.897" v="1727"/>
          <ac:spMkLst>
            <pc:docMk/>
            <pc:sldMk cId="2600840893" sldId="319"/>
            <ac:spMk id="2" creationId="{16DB9D3C-9CCE-D1F9-3064-F64D8ABE9A78}"/>
          </ac:spMkLst>
        </pc:spChg>
        <pc:spChg chg="add mod">
          <ac:chgData name="Gabriele Zanoletti" userId="fc6666fa-3441-4ddc-a8b9-f69fbbdf5644" providerId="ADAL" clId="{F2571258-CC26-4B12-B833-E4A17A5DE9C1}" dt="2024-01-24T11:27:36.464" v="9936" actId="20577"/>
          <ac:spMkLst>
            <pc:docMk/>
            <pc:sldMk cId="2600840893" sldId="319"/>
            <ac:spMk id="5" creationId="{06ABB142-F7C0-6F40-75FE-F5031C064065}"/>
          </ac:spMkLst>
        </pc:spChg>
        <pc:picChg chg="del">
          <ac:chgData name="Gabriele Zanoletti" userId="fc6666fa-3441-4ddc-a8b9-f69fbbdf5644" providerId="ADAL" clId="{F2571258-CC26-4B12-B833-E4A17A5DE9C1}" dt="2024-01-23T14:51:25.246" v="691" actId="478"/>
          <ac:picMkLst>
            <pc:docMk/>
            <pc:sldMk cId="2600840893" sldId="319"/>
            <ac:picMk id="6" creationId="{706280E7-5456-BA43-0719-118F97AE59B9}"/>
          </ac:picMkLst>
        </pc:picChg>
        <pc:picChg chg="add mod">
          <ac:chgData name="Gabriele Zanoletti" userId="fc6666fa-3441-4ddc-a8b9-f69fbbdf5644" providerId="ADAL" clId="{F2571258-CC26-4B12-B833-E4A17A5DE9C1}" dt="2024-01-24T11:27:08.401" v="9912" actId="1036"/>
          <ac:picMkLst>
            <pc:docMk/>
            <pc:sldMk cId="2600840893" sldId="319"/>
            <ac:picMk id="7" creationId="{94FD2E80-92B9-3907-CBE1-85408BA99064}"/>
          </ac:picMkLst>
        </pc:picChg>
      </pc:sldChg>
      <pc:sldChg chg="addSp delSp modSp new mod">
        <pc:chgData name="Gabriele Zanoletti" userId="fc6666fa-3441-4ddc-a8b9-f69fbbdf5644" providerId="ADAL" clId="{F2571258-CC26-4B12-B833-E4A17A5DE9C1}" dt="2024-01-24T11:33:46.811" v="10110" actId="1076"/>
        <pc:sldMkLst>
          <pc:docMk/>
          <pc:sldMk cId="2371849535" sldId="320"/>
        </pc:sldMkLst>
        <pc:spChg chg="mod">
          <ac:chgData name="Gabriele Zanoletti" userId="fc6666fa-3441-4ddc-a8b9-f69fbbdf5644" providerId="ADAL" clId="{F2571258-CC26-4B12-B833-E4A17A5DE9C1}" dt="2024-01-23T15:18:33.050" v="1780" actId="20577"/>
          <ac:spMkLst>
            <pc:docMk/>
            <pc:sldMk cId="2371849535" sldId="320"/>
            <ac:spMk id="2" creationId="{5E0C03EA-E9A5-1D99-BB3A-CD23664A6BC5}"/>
          </ac:spMkLst>
        </pc:spChg>
        <pc:spChg chg="add mod">
          <ac:chgData name="Gabriele Zanoletti" userId="fc6666fa-3441-4ddc-a8b9-f69fbbdf5644" providerId="ADAL" clId="{F2571258-CC26-4B12-B833-E4A17A5DE9C1}" dt="2024-01-24T11:33:35.598" v="10105" actId="14100"/>
          <ac:spMkLst>
            <pc:docMk/>
            <pc:sldMk cId="2371849535" sldId="320"/>
            <ac:spMk id="5" creationId="{BF8C5357-5A8D-69D7-0B8F-A400C9B33D53}"/>
          </ac:spMkLst>
        </pc:spChg>
        <pc:picChg chg="add del mod modCrop">
          <ac:chgData name="Gabriele Zanoletti" userId="fc6666fa-3441-4ddc-a8b9-f69fbbdf5644" providerId="ADAL" clId="{F2571258-CC26-4B12-B833-E4A17A5DE9C1}" dt="2024-01-23T14:53:46.610" v="710" actId="478"/>
          <ac:picMkLst>
            <pc:docMk/>
            <pc:sldMk cId="2371849535" sldId="320"/>
            <ac:picMk id="6" creationId="{A155A373-45F5-E5F7-326D-1316C642325F}"/>
          </ac:picMkLst>
        </pc:picChg>
        <pc:picChg chg="add mod modCrop">
          <ac:chgData name="Gabriele Zanoletti" userId="fc6666fa-3441-4ddc-a8b9-f69fbbdf5644" providerId="ADAL" clId="{F2571258-CC26-4B12-B833-E4A17A5DE9C1}" dt="2024-01-24T11:33:46.811" v="10110" actId="1076"/>
          <ac:picMkLst>
            <pc:docMk/>
            <pc:sldMk cId="2371849535" sldId="320"/>
            <ac:picMk id="8" creationId="{AEB23DA9-9B65-F9DB-DB65-2C7B30BBB887}"/>
          </ac:picMkLst>
        </pc:picChg>
      </pc:sldChg>
      <pc:sldChg chg="modSp add mod">
        <pc:chgData name="Gabriele Zanoletti" userId="fc6666fa-3441-4ddc-a8b9-f69fbbdf5644" providerId="ADAL" clId="{F2571258-CC26-4B12-B833-E4A17A5DE9C1}" dt="2024-01-23T14:58:59.097" v="722" actId="113"/>
        <pc:sldMkLst>
          <pc:docMk/>
          <pc:sldMk cId="532413471" sldId="321"/>
        </pc:sldMkLst>
        <pc:spChg chg="mod">
          <ac:chgData name="Gabriele Zanoletti" userId="fc6666fa-3441-4ddc-a8b9-f69fbbdf5644" providerId="ADAL" clId="{F2571258-CC26-4B12-B833-E4A17A5DE9C1}" dt="2024-01-23T14:58:59.097" v="722" actId="113"/>
          <ac:spMkLst>
            <pc:docMk/>
            <pc:sldMk cId="532413471" sldId="321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07:06.074" v="1075" actId="113"/>
        <pc:sldMkLst>
          <pc:docMk/>
          <pc:sldMk cId="902660526" sldId="322"/>
        </pc:sldMkLst>
        <pc:spChg chg="mod">
          <ac:chgData name="Gabriele Zanoletti" userId="fc6666fa-3441-4ddc-a8b9-f69fbbdf5644" providerId="ADAL" clId="{F2571258-CC26-4B12-B833-E4A17A5DE9C1}" dt="2024-01-23T15:07:06.074" v="1075" actId="113"/>
          <ac:spMkLst>
            <pc:docMk/>
            <pc:sldMk cId="902660526" sldId="322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1:56.558" v="1361" actId="113"/>
        <pc:sldMkLst>
          <pc:docMk/>
          <pc:sldMk cId="3702300545" sldId="323"/>
        </pc:sldMkLst>
        <pc:spChg chg="mod">
          <ac:chgData name="Gabriele Zanoletti" userId="fc6666fa-3441-4ddc-a8b9-f69fbbdf5644" providerId="ADAL" clId="{F2571258-CC26-4B12-B833-E4A17A5DE9C1}" dt="2024-01-23T15:11:56.558" v="1361" actId="113"/>
          <ac:spMkLst>
            <pc:docMk/>
            <pc:sldMk cId="3702300545" sldId="323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29.747" v="1783" actId="113"/>
        <pc:sldMkLst>
          <pc:docMk/>
          <pc:sldMk cId="2885120835" sldId="324"/>
        </pc:sldMkLst>
        <pc:spChg chg="mod">
          <ac:chgData name="Gabriele Zanoletti" userId="fc6666fa-3441-4ddc-a8b9-f69fbbdf5644" providerId="ADAL" clId="{F2571258-CC26-4B12-B833-E4A17A5DE9C1}" dt="2024-01-23T15:19:29.747" v="1783" actId="113"/>
          <ac:spMkLst>
            <pc:docMk/>
            <pc:sldMk cId="2885120835" sldId="324"/>
            <ac:spMk id="4" creationId="{1AC29BDC-7CB8-266E-07CF-D9D5D9169AC3}"/>
          </ac:spMkLst>
        </pc:spChg>
      </pc:sldChg>
      <pc:sldChg chg="modSp add mod">
        <pc:chgData name="Gabriele Zanoletti" userId="fc6666fa-3441-4ddc-a8b9-f69fbbdf5644" providerId="ADAL" clId="{F2571258-CC26-4B12-B833-E4A17A5DE9C1}" dt="2024-01-23T15:19:38.699" v="1786" actId="113"/>
        <pc:sldMkLst>
          <pc:docMk/>
          <pc:sldMk cId="2835239964" sldId="325"/>
        </pc:sldMkLst>
        <pc:spChg chg="mod">
          <ac:chgData name="Gabriele Zanoletti" userId="fc6666fa-3441-4ddc-a8b9-f69fbbdf5644" providerId="ADAL" clId="{F2571258-CC26-4B12-B833-E4A17A5DE9C1}" dt="2024-01-23T15:19:38.699" v="1786" actId="113"/>
          <ac:spMkLst>
            <pc:docMk/>
            <pc:sldMk cId="2835239964" sldId="325"/>
            <ac:spMk id="4" creationId="{1AC29BDC-7CB8-266E-07CF-D9D5D9169AC3}"/>
          </ac:spMkLst>
        </pc:spChg>
      </pc:sldChg>
      <pc:sldChg chg="modSp new mod">
        <pc:chgData name="Gabriele Zanoletti" userId="fc6666fa-3441-4ddc-a8b9-f69fbbdf5644" providerId="ADAL" clId="{F2571258-CC26-4B12-B833-E4A17A5DE9C1}" dt="2024-01-24T12:14:36.734" v="11101" actId="20577"/>
        <pc:sldMkLst>
          <pc:docMk/>
          <pc:sldMk cId="1343076952" sldId="326"/>
        </pc:sldMkLst>
        <pc:spChg chg="mod">
          <ac:chgData name="Gabriele Zanoletti" userId="fc6666fa-3441-4ddc-a8b9-f69fbbdf5644" providerId="ADAL" clId="{F2571258-CC26-4B12-B833-E4A17A5DE9C1}" dt="2024-01-24T12:14:36.734" v="11101" actId="20577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Gabriele Zanoletti" userId="fc6666fa-3441-4ddc-a8b9-f69fbbdf5644" providerId="ADAL" clId="{F2571258-CC26-4B12-B833-E4A17A5DE9C1}" dt="2024-01-23T17:15:49.412" v="3073" actId="20577"/>
          <ac:spMkLst>
            <pc:docMk/>
            <pc:sldMk cId="1343076952" sldId="326"/>
            <ac:spMk id="3" creationId="{29BDDA70-D7E3-C17F-663E-2B5F6669930B}"/>
          </ac:spMkLst>
        </pc:spChg>
      </pc:sldChg>
      <pc:sldChg chg="new del">
        <pc:chgData name="Gabriele Zanoletti" userId="fc6666fa-3441-4ddc-a8b9-f69fbbdf5644" providerId="ADAL" clId="{F2571258-CC26-4B12-B833-E4A17A5DE9C1}" dt="2024-01-24T09:52:24.424" v="6784" actId="680"/>
        <pc:sldMkLst>
          <pc:docMk/>
          <pc:sldMk cId="1592627195" sldId="332"/>
        </pc:sldMkLst>
      </pc:sldChg>
    </pc:docChg>
  </pc:docChgLst>
  <pc:docChgLst>
    <pc:chgData name="Luca Ricci" userId="S::10451631@polimi.it::ee5f09d5-0832-4e68-94c9-d8bfd2ad04f0" providerId="AD" clId="Web-{FE7C741D-44D6-EDC1-2356-2BC66BDF72B9}"/>
    <pc:docChg chg="modSld">
      <pc:chgData name="Luca Ricci" userId="S::10451631@polimi.it::ee5f09d5-0832-4e68-94c9-d8bfd2ad04f0" providerId="AD" clId="Web-{FE7C741D-44D6-EDC1-2356-2BC66BDF72B9}" dt="2024-01-24T10:53:07.909" v="13"/>
      <pc:docMkLst>
        <pc:docMk/>
      </pc:docMkLst>
      <pc:sldChg chg="addSp delSp modSp">
        <pc:chgData name="Luca Ricci" userId="S::10451631@polimi.it::ee5f09d5-0832-4e68-94c9-d8bfd2ad04f0" providerId="AD" clId="Web-{FE7C741D-44D6-EDC1-2356-2BC66BDF72B9}" dt="2024-01-24T10:53:07.909" v="13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FE7C741D-44D6-EDC1-2356-2BC66BDF72B9}" dt="2024-01-24T10:53:07.909" v="13"/>
          <ac:picMkLst>
            <pc:docMk/>
            <pc:sldMk cId="4109715435" sldId="313"/>
            <ac:picMk id="5" creationId="{4FC8F0D0-3DD3-7001-94C0-6D0D366B9894}"/>
          </ac:picMkLst>
        </pc:picChg>
      </pc:sldChg>
      <pc:sldChg chg="addSp delSp modSp">
        <pc:chgData name="Luca Ricci" userId="S::10451631@polimi.it::ee5f09d5-0832-4e68-94c9-d8bfd2ad04f0" providerId="AD" clId="Web-{FE7C741D-44D6-EDC1-2356-2BC66BDF72B9}" dt="2024-01-24T10:52:05.375" v="11" actId="20577"/>
        <pc:sldMkLst>
          <pc:docMk/>
          <pc:sldMk cId="3439177903" sldId="315"/>
        </pc:sldMkLst>
        <pc:spChg chg="mod">
          <ac:chgData name="Luca Ricci" userId="S::10451631@polimi.it::ee5f09d5-0832-4e68-94c9-d8bfd2ad04f0" providerId="AD" clId="Web-{FE7C741D-44D6-EDC1-2356-2BC66BDF72B9}" dt="2024-01-24T10:52:05.375" v="11" actId="20577"/>
          <ac:spMkLst>
            <pc:docMk/>
            <pc:sldMk cId="3439177903" sldId="315"/>
            <ac:spMk id="5" creationId="{3FE6A5CD-F0FE-705A-0A93-81EB7DCD9F12}"/>
          </ac:spMkLst>
        </pc:spChg>
        <pc:spChg chg="add">
          <ac:chgData name="Luca Ricci" userId="S::10451631@polimi.it::ee5f09d5-0832-4e68-94c9-d8bfd2ad04f0" providerId="AD" clId="Web-{FE7C741D-44D6-EDC1-2356-2BC66BDF72B9}" dt="2024-01-24T10:51:11.263" v="0"/>
          <ac:spMkLst>
            <pc:docMk/>
            <pc:sldMk cId="3439177903" sldId="315"/>
            <ac:spMk id="7" creationId="{C4C8B730-7D2A-5B96-CC9D-40BB7627C92F}"/>
          </ac:spMkLst>
        </pc:spChg>
        <pc:spChg chg="add del">
          <ac:chgData name="Luca Ricci" userId="S::10451631@polimi.it::ee5f09d5-0832-4e68-94c9-d8bfd2ad04f0" providerId="AD" clId="Web-{FE7C741D-44D6-EDC1-2356-2BC66BDF72B9}" dt="2024-01-24T10:51:17.795" v="2"/>
          <ac:spMkLst>
            <pc:docMk/>
            <pc:sldMk cId="3439177903" sldId="315"/>
            <ac:spMk id="8" creationId="{45EC5BB0-0D73-05A7-F47F-4F7C3BF4D374}"/>
          </ac:spMkLst>
        </pc:spChg>
      </pc:sldChg>
    </pc:docChg>
  </pc:docChgLst>
  <pc:docChgLst>
    <pc:chgData name="Gabriele Zanoletti" userId="fc6666fa-3441-4ddc-a8b9-f69fbbdf5644" providerId="ADAL" clId="{CBDFB5E6-1FA1-4DE7-A201-1F4BA4E764AC}"/>
    <pc:docChg chg="custSel modSld">
      <pc:chgData name="Gabriele Zanoletti" userId="fc6666fa-3441-4ddc-a8b9-f69fbbdf5644" providerId="ADAL" clId="{CBDFB5E6-1FA1-4DE7-A201-1F4BA4E764AC}" dt="2024-01-26T08:53:43.333" v="81" actId="368"/>
      <pc:docMkLst>
        <pc:docMk/>
      </pc:docMkLst>
      <pc:sldChg chg="modNotes">
        <pc:chgData name="Gabriele Zanoletti" userId="fc6666fa-3441-4ddc-a8b9-f69fbbdf5644" providerId="ADAL" clId="{CBDFB5E6-1FA1-4DE7-A201-1F4BA4E764AC}" dt="2024-01-26T08:53:43.333" v="81" actId="368"/>
        <pc:sldMkLst>
          <pc:docMk/>
          <pc:sldMk cId="895135860" sldId="257"/>
        </pc:sldMkLst>
      </pc:sldChg>
      <pc:sldChg chg="modNotes">
        <pc:chgData name="Gabriele Zanoletti" userId="fc6666fa-3441-4ddc-a8b9-f69fbbdf5644" providerId="ADAL" clId="{CBDFB5E6-1FA1-4DE7-A201-1F4BA4E764AC}" dt="2024-01-26T08:53:42.927" v="3" actId="368"/>
        <pc:sldMkLst>
          <pc:docMk/>
          <pc:sldMk cId="3601296254" sldId="258"/>
        </pc:sldMkLst>
      </pc:sldChg>
      <pc:sldChg chg="modNotes">
        <pc:chgData name="Gabriele Zanoletti" userId="fc6666fa-3441-4ddc-a8b9-f69fbbdf5644" providerId="ADAL" clId="{CBDFB5E6-1FA1-4DE7-A201-1F4BA4E764AC}" dt="2024-01-26T08:53:42.941" v="5" actId="368"/>
        <pc:sldMkLst>
          <pc:docMk/>
          <pc:sldMk cId="994454846" sldId="291"/>
        </pc:sldMkLst>
      </pc:sldChg>
      <pc:sldChg chg="modNotes">
        <pc:chgData name="Gabriele Zanoletti" userId="fc6666fa-3441-4ddc-a8b9-f69fbbdf5644" providerId="ADAL" clId="{CBDFB5E6-1FA1-4DE7-A201-1F4BA4E764AC}" dt="2024-01-26T08:53:42.957" v="7" actId="368"/>
        <pc:sldMkLst>
          <pc:docMk/>
          <pc:sldMk cId="3241623441" sldId="292"/>
        </pc:sldMkLst>
      </pc:sldChg>
      <pc:sldChg chg="modNotes">
        <pc:chgData name="Gabriele Zanoletti" userId="fc6666fa-3441-4ddc-a8b9-f69fbbdf5644" providerId="ADAL" clId="{CBDFB5E6-1FA1-4DE7-A201-1F4BA4E764AC}" dt="2024-01-26T08:53:42.969" v="9" actId="368"/>
        <pc:sldMkLst>
          <pc:docMk/>
          <pc:sldMk cId="692283471" sldId="293"/>
        </pc:sldMkLst>
      </pc:sldChg>
      <pc:sldChg chg="modNotes">
        <pc:chgData name="Gabriele Zanoletti" userId="fc6666fa-3441-4ddc-a8b9-f69fbbdf5644" providerId="ADAL" clId="{CBDFB5E6-1FA1-4DE7-A201-1F4BA4E764AC}" dt="2024-01-26T08:53:42.980" v="11" actId="368"/>
        <pc:sldMkLst>
          <pc:docMk/>
          <pc:sldMk cId="2858633819" sldId="294"/>
        </pc:sldMkLst>
      </pc:sldChg>
      <pc:sldChg chg="modNotes">
        <pc:chgData name="Gabriele Zanoletti" userId="fc6666fa-3441-4ddc-a8b9-f69fbbdf5644" providerId="ADAL" clId="{CBDFB5E6-1FA1-4DE7-A201-1F4BA4E764AC}" dt="2024-01-26T08:53:43.006" v="15" actId="368"/>
        <pc:sldMkLst>
          <pc:docMk/>
          <pc:sldMk cId="1570471128" sldId="296"/>
        </pc:sldMkLst>
      </pc:sldChg>
      <pc:sldChg chg="modNotes">
        <pc:chgData name="Gabriele Zanoletti" userId="fc6666fa-3441-4ddc-a8b9-f69fbbdf5644" providerId="ADAL" clId="{CBDFB5E6-1FA1-4DE7-A201-1F4BA4E764AC}" dt="2024-01-26T08:53:43.021" v="17" actId="368"/>
        <pc:sldMkLst>
          <pc:docMk/>
          <pc:sldMk cId="1604505303" sldId="297"/>
        </pc:sldMkLst>
      </pc:sldChg>
      <pc:sldChg chg="modNotes">
        <pc:chgData name="Gabriele Zanoletti" userId="fc6666fa-3441-4ddc-a8b9-f69fbbdf5644" providerId="ADAL" clId="{CBDFB5E6-1FA1-4DE7-A201-1F4BA4E764AC}" dt="2024-01-26T08:53:43.062" v="25" actId="368"/>
        <pc:sldMkLst>
          <pc:docMk/>
          <pc:sldMk cId="1968516981" sldId="301"/>
        </pc:sldMkLst>
      </pc:sldChg>
      <pc:sldChg chg="modNotes">
        <pc:chgData name="Gabriele Zanoletti" userId="fc6666fa-3441-4ddc-a8b9-f69fbbdf5644" providerId="ADAL" clId="{CBDFB5E6-1FA1-4DE7-A201-1F4BA4E764AC}" dt="2024-01-26T08:53:43.073" v="27" actId="368"/>
        <pc:sldMkLst>
          <pc:docMk/>
          <pc:sldMk cId="3837282433" sldId="302"/>
        </pc:sldMkLst>
      </pc:sldChg>
      <pc:sldChg chg="modNotes">
        <pc:chgData name="Gabriele Zanoletti" userId="fc6666fa-3441-4ddc-a8b9-f69fbbdf5644" providerId="ADAL" clId="{CBDFB5E6-1FA1-4DE7-A201-1F4BA4E764AC}" dt="2024-01-26T08:53:43.083" v="29" actId="368"/>
        <pc:sldMkLst>
          <pc:docMk/>
          <pc:sldMk cId="786950877" sldId="303"/>
        </pc:sldMkLst>
      </pc:sldChg>
      <pc:sldChg chg="modNotes">
        <pc:chgData name="Gabriele Zanoletti" userId="fc6666fa-3441-4ddc-a8b9-f69fbbdf5644" providerId="ADAL" clId="{CBDFB5E6-1FA1-4DE7-A201-1F4BA4E764AC}" dt="2024-01-26T08:53:43.093" v="31" actId="368"/>
        <pc:sldMkLst>
          <pc:docMk/>
          <pc:sldMk cId="4147670638" sldId="304"/>
        </pc:sldMkLst>
      </pc:sldChg>
      <pc:sldChg chg="modNotes">
        <pc:chgData name="Gabriele Zanoletti" userId="fc6666fa-3441-4ddc-a8b9-f69fbbdf5644" providerId="ADAL" clId="{CBDFB5E6-1FA1-4DE7-A201-1F4BA4E764AC}" dt="2024-01-26T08:53:43.112" v="35" actId="368"/>
        <pc:sldMkLst>
          <pc:docMk/>
          <pc:sldMk cId="2129748764" sldId="305"/>
        </pc:sldMkLst>
      </pc:sldChg>
      <pc:sldChg chg="modNotes">
        <pc:chgData name="Gabriele Zanoletti" userId="fc6666fa-3441-4ddc-a8b9-f69fbbdf5644" providerId="ADAL" clId="{CBDFB5E6-1FA1-4DE7-A201-1F4BA4E764AC}" dt="2024-01-26T08:53:43.101" v="33" actId="368"/>
        <pc:sldMkLst>
          <pc:docMk/>
          <pc:sldMk cId="4004401706" sldId="306"/>
        </pc:sldMkLst>
      </pc:sldChg>
      <pc:sldChg chg="modNotes">
        <pc:chgData name="Gabriele Zanoletti" userId="fc6666fa-3441-4ddc-a8b9-f69fbbdf5644" providerId="ADAL" clId="{CBDFB5E6-1FA1-4DE7-A201-1F4BA4E764AC}" dt="2024-01-26T08:53:43.131" v="39" actId="368"/>
        <pc:sldMkLst>
          <pc:docMk/>
          <pc:sldMk cId="3230328343" sldId="307"/>
        </pc:sldMkLst>
      </pc:sldChg>
      <pc:sldChg chg="modNotes">
        <pc:chgData name="Gabriele Zanoletti" userId="fc6666fa-3441-4ddc-a8b9-f69fbbdf5644" providerId="ADAL" clId="{CBDFB5E6-1FA1-4DE7-A201-1F4BA4E764AC}" dt="2024-01-26T08:53:43.141" v="41" actId="368"/>
        <pc:sldMkLst>
          <pc:docMk/>
          <pc:sldMk cId="3362905413" sldId="308"/>
        </pc:sldMkLst>
      </pc:sldChg>
      <pc:sldChg chg="modNotes">
        <pc:chgData name="Gabriele Zanoletti" userId="fc6666fa-3441-4ddc-a8b9-f69fbbdf5644" providerId="ADAL" clId="{CBDFB5E6-1FA1-4DE7-A201-1F4BA4E764AC}" dt="2024-01-26T08:53:43.167" v="47" actId="368"/>
        <pc:sldMkLst>
          <pc:docMk/>
          <pc:sldMk cId="3056404990" sldId="310"/>
        </pc:sldMkLst>
      </pc:sldChg>
      <pc:sldChg chg="modNotes">
        <pc:chgData name="Gabriele Zanoletti" userId="fc6666fa-3441-4ddc-a8b9-f69fbbdf5644" providerId="ADAL" clId="{CBDFB5E6-1FA1-4DE7-A201-1F4BA4E764AC}" dt="2024-01-26T08:53:43.254" v="63" actId="368"/>
        <pc:sldMkLst>
          <pc:docMk/>
          <pc:sldMk cId="2059814184" sldId="314"/>
        </pc:sldMkLst>
      </pc:sldChg>
      <pc:sldChg chg="modNotes">
        <pc:chgData name="Gabriele Zanoletti" userId="fc6666fa-3441-4ddc-a8b9-f69fbbdf5644" providerId="ADAL" clId="{CBDFB5E6-1FA1-4DE7-A201-1F4BA4E764AC}" dt="2024-01-26T08:53:43.263" v="65" actId="368"/>
        <pc:sldMkLst>
          <pc:docMk/>
          <pc:sldMk cId="3439177903" sldId="315"/>
        </pc:sldMkLst>
      </pc:sldChg>
      <pc:sldChg chg="modNotes">
        <pc:chgData name="Gabriele Zanoletti" userId="fc6666fa-3441-4ddc-a8b9-f69fbbdf5644" providerId="ADAL" clId="{CBDFB5E6-1FA1-4DE7-A201-1F4BA4E764AC}" dt="2024-01-26T08:53:43.282" v="69" actId="368"/>
        <pc:sldMkLst>
          <pc:docMk/>
          <pc:sldMk cId="2060001824" sldId="316"/>
        </pc:sldMkLst>
      </pc:sldChg>
      <pc:sldChg chg="modNotes">
        <pc:chgData name="Gabriele Zanoletti" userId="fc6666fa-3441-4ddc-a8b9-f69fbbdf5644" providerId="ADAL" clId="{CBDFB5E6-1FA1-4DE7-A201-1F4BA4E764AC}" dt="2024-01-26T08:53:43.272" v="67" actId="368"/>
        <pc:sldMkLst>
          <pc:docMk/>
          <pc:sldMk cId="4110969131" sldId="317"/>
        </pc:sldMkLst>
      </pc:sldChg>
      <pc:sldChg chg="modNotes">
        <pc:chgData name="Gabriele Zanoletti" userId="fc6666fa-3441-4ddc-a8b9-f69fbbdf5644" providerId="ADAL" clId="{CBDFB5E6-1FA1-4DE7-A201-1F4BA4E764AC}" dt="2024-01-26T08:53:43.290" v="71" actId="368"/>
        <pc:sldMkLst>
          <pc:docMk/>
          <pc:sldMk cId="2600840893" sldId="319"/>
        </pc:sldMkLst>
      </pc:sldChg>
      <pc:sldChg chg="modNotes">
        <pc:chgData name="Gabriele Zanoletti" userId="fc6666fa-3441-4ddc-a8b9-f69fbbdf5644" providerId="ADAL" clId="{CBDFB5E6-1FA1-4DE7-A201-1F4BA4E764AC}" dt="2024-01-26T08:53:43.300" v="73" actId="368"/>
        <pc:sldMkLst>
          <pc:docMk/>
          <pc:sldMk cId="2371849535" sldId="320"/>
        </pc:sldMkLst>
      </pc:sldChg>
      <pc:sldChg chg="modNotes">
        <pc:chgData name="Gabriele Zanoletti" userId="fc6666fa-3441-4ddc-a8b9-f69fbbdf5644" providerId="ADAL" clId="{CBDFB5E6-1FA1-4DE7-A201-1F4BA4E764AC}" dt="2024-01-26T08:53:43.036" v="19" actId="368"/>
        <pc:sldMkLst>
          <pc:docMk/>
          <pc:sldMk cId="902660526" sldId="322"/>
        </pc:sldMkLst>
      </pc:sldChg>
      <pc:sldChg chg="modNotes">
        <pc:chgData name="Gabriele Zanoletti" userId="fc6666fa-3441-4ddc-a8b9-f69fbbdf5644" providerId="ADAL" clId="{CBDFB5E6-1FA1-4DE7-A201-1F4BA4E764AC}" dt="2024-01-26T08:53:43.120" v="37" actId="368"/>
        <pc:sldMkLst>
          <pc:docMk/>
          <pc:sldMk cId="3702300545" sldId="323"/>
        </pc:sldMkLst>
      </pc:sldChg>
      <pc:sldChg chg="modNotes">
        <pc:chgData name="Gabriele Zanoletti" userId="fc6666fa-3441-4ddc-a8b9-f69fbbdf5644" providerId="ADAL" clId="{CBDFB5E6-1FA1-4DE7-A201-1F4BA4E764AC}" dt="2024-01-26T08:53:43.244" v="61" actId="368"/>
        <pc:sldMkLst>
          <pc:docMk/>
          <pc:sldMk cId="2885120835" sldId="324"/>
        </pc:sldMkLst>
      </pc:sldChg>
      <pc:sldChg chg="modNotes">
        <pc:chgData name="Gabriele Zanoletti" userId="fc6666fa-3441-4ddc-a8b9-f69fbbdf5644" providerId="ADAL" clId="{CBDFB5E6-1FA1-4DE7-A201-1F4BA4E764AC}" dt="2024-01-26T08:53:43.308" v="75" actId="368"/>
        <pc:sldMkLst>
          <pc:docMk/>
          <pc:sldMk cId="2835239964" sldId="325"/>
        </pc:sldMkLst>
      </pc:sldChg>
      <pc:sldChg chg="modNotes">
        <pc:chgData name="Gabriele Zanoletti" userId="fc6666fa-3441-4ddc-a8b9-f69fbbdf5644" providerId="ADAL" clId="{CBDFB5E6-1FA1-4DE7-A201-1F4BA4E764AC}" dt="2024-01-26T08:53:43.317" v="77" actId="368"/>
        <pc:sldMkLst>
          <pc:docMk/>
          <pc:sldMk cId="1343076952" sldId="326"/>
        </pc:sldMkLst>
      </pc:sldChg>
      <pc:sldChg chg="modNotes">
        <pc:chgData name="Gabriele Zanoletti" userId="fc6666fa-3441-4ddc-a8b9-f69fbbdf5644" providerId="ADAL" clId="{CBDFB5E6-1FA1-4DE7-A201-1F4BA4E764AC}" dt="2024-01-26T08:53:42.990" v="13" actId="368"/>
        <pc:sldMkLst>
          <pc:docMk/>
          <pc:sldMk cId="897985928" sldId="332"/>
        </pc:sldMkLst>
      </pc:sldChg>
      <pc:sldChg chg="modNotes">
        <pc:chgData name="Gabriele Zanoletti" userId="fc6666fa-3441-4ddc-a8b9-f69fbbdf5644" providerId="ADAL" clId="{CBDFB5E6-1FA1-4DE7-A201-1F4BA4E764AC}" dt="2024-01-26T08:53:43.045" v="21" actId="368"/>
        <pc:sldMkLst>
          <pc:docMk/>
          <pc:sldMk cId="1171648230" sldId="333"/>
        </pc:sldMkLst>
      </pc:sldChg>
      <pc:sldChg chg="modNotes">
        <pc:chgData name="Gabriele Zanoletti" userId="fc6666fa-3441-4ddc-a8b9-f69fbbdf5644" providerId="ADAL" clId="{CBDFB5E6-1FA1-4DE7-A201-1F4BA4E764AC}" dt="2024-01-26T08:53:43.326" v="79" actId="368"/>
        <pc:sldMkLst>
          <pc:docMk/>
          <pc:sldMk cId="1998290092" sldId="334"/>
        </pc:sldMkLst>
      </pc:sldChg>
      <pc:sldChg chg="modNotes">
        <pc:chgData name="Gabriele Zanoletti" userId="fc6666fa-3441-4ddc-a8b9-f69fbbdf5644" providerId="ADAL" clId="{CBDFB5E6-1FA1-4DE7-A201-1F4BA4E764AC}" dt="2024-01-26T08:53:43.150" v="43" actId="368"/>
        <pc:sldMkLst>
          <pc:docMk/>
          <pc:sldMk cId="2832553207" sldId="335"/>
        </pc:sldMkLst>
      </pc:sldChg>
      <pc:sldChg chg="modNotes">
        <pc:chgData name="Gabriele Zanoletti" userId="fc6666fa-3441-4ddc-a8b9-f69fbbdf5644" providerId="ADAL" clId="{CBDFB5E6-1FA1-4DE7-A201-1F4BA4E764AC}" dt="2024-01-26T08:53:43.177" v="49" actId="368"/>
        <pc:sldMkLst>
          <pc:docMk/>
          <pc:sldMk cId="349029065" sldId="336"/>
        </pc:sldMkLst>
      </pc:sldChg>
      <pc:sldChg chg="modNotes">
        <pc:chgData name="Gabriele Zanoletti" userId="fc6666fa-3441-4ddc-a8b9-f69fbbdf5644" providerId="ADAL" clId="{CBDFB5E6-1FA1-4DE7-A201-1F4BA4E764AC}" dt="2024-01-26T08:53:43.159" v="45" actId="368"/>
        <pc:sldMkLst>
          <pc:docMk/>
          <pc:sldMk cId="3040321551" sldId="337"/>
        </pc:sldMkLst>
      </pc:sldChg>
      <pc:sldChg chg="modNotes">
        <pc:chgData name="Gabriele Zanoletti" userId="fc6666fa-3441-4ddc-a8b9-f69fbbdf5644" providerId="ADAL" clId="{CBDFB5E6-1FA1-4DE7-A201-1F4BA4E764AC}" dt="2024-01-26T08:53:43.231" v="59" actId="368"/>
        <pc:sldMkLst>
          <pc:docMk/>
          <pc:sldMk cId="3682762768" sldId="338"/>
        </pc:sldMkLst>
      </pc:sldChg>
      <pc:sldChg chg="modNotes">
        <pc:chgData name="Gabriele Zanoletti" userId="fc6666fa-3441-4ddc-a8b9-f69fbbdf5644" providerId="ADAL" clId="{CBDFB5E6-1FA1-4DE7-A201-1F4BA4E764AC}" dt="2024-01-26T08:53:43.197" v="53" actId="368"/>
        <pc:sldMkLst>
          <pc:docMk/>
          <pc:sldMk cId="1233919258" sldId="340"/>
        </pc:sldMkLst>
      </pc:sldChg>
      <pc:sldChg chg="modNotes">
        <pc:chgData name="Gabriele Zanoletti" userId="fc6666fa-3441-4ddc-a8b9-f69fbbdf5644" providerId="ADAL" clId="{CBDFB5E6-1FA1-4DE7-A201-1F4BA4E764AC}" dt="2024-01-26T08:53:43.208" v="55" actId="368"/>
        <pc:sldMkLst>
          <pc:docMk/>
          <pc:sldMk cId="2889248117" sldId="341"/>
        </pc:sldMkLst>
      </pc:sldChg>
      <pc:sldChg chg="modNotes">
        <pc:chgData name="Gabriele Zanoletti" userId="fc6666fa-3441-4ddc-a8b9-f69fbbdf5644" providerId="ADAL" clId="{CBDFB5E6-1FA1-4DE7-A201-1F4BA4E764AC}" dt="2024-01-26T08:53:43.186" v="51" actId="368"/>
        <pc:sldMkLst>
          <pc:docMk/>
          <pc:sldMk cId="782384403" sldId="345"/>
        </pc:sldMkLst>
      </pc:sldChg>
      <pc:sldChg chg="modNotes">
        <pc:chgData name="Gabriele Zanoletti" userId="fc6666fa-3441-4ddc-a8b9-f69fbbdf5644" providerId="ADAL" clId="{CBDFB5E6-1FA1-4DE7-A201-1F4BA4E764AC}" dt="2024-01-26T08:53:43.054" v="23" actId="368"/>
        <pc:sldMkLst>
          <pc:docMk/>
          <pc:sldMk cId="977858740" sldId="346"/>
        </pc:sldMkLst>
      </pc:sldChg>
      <pc:sldChg chg="modNotes">
        <pc:chgData name="Gabriele Zanoletti" userId="fc6666fa-3441-4ddc-a8b9-f69fbbdf5644" providerId="ADAL" clId="{CBDFB5E6-1FA1-4DE7-A201-1F4BA4E764AC}" dt="2024-01-26T08:53:42.919" v="1" actId="368"/>
        <pc:sldMkLst>
          <pc:docMk/>
          <pc:sldMk cId="252918147" sldId="347"/>
        </pc:sldMkLst>
      </pc:sldChg>
      <pc:sldChg chg="modNotes">
        <pc:chgData name="Gabriele Zanoletti" userId="fc6666fa-3441-4ddc-a8b9-f69fbbdf5644" providerId="ADAL" clId="{CBDFB5E6-1FA1-4DE7-A201-1F4BA4E764AC}" dt="2024-01-26T08:53:43.216" v="57" actId="368"/>
        <pc:sldMkLst>
          <pc:docMk/>
          <pc:sldMk cId="3489691726" sldId="348"/>
        </pc:sldMkLst>
      </pc:sldChg>
    </pc:docChg>
  </pc:docChgLst>
  <pc:docChgLst>
    <pc:chgData name="Gabriele Be'" userId="S::10455288@polimi.it::7bf626d5-9dae-4fe7-9b21-8b110831bcf6" providerId="AD" clId="Web-{204C86BC-B0AA-4E0F-0F98-058FC30E4937}"/>
    <pc:docChg chg="modSld">
      <pc:chgData name="Gabriele Be'" userId="S::10455288@polimi.it::7bf626d5-9dae-4fe7-9b21-8b110831bcf6" providerId="AD" clId="Web-{204C86BC-B0AA-4E0F-0F98-058FC30E4937}" dt="2024-03-26T17:42:40.856" v="0"/>
      <pc:docMkLst>
        <pc:docMk/>
      </pc:docMkLst>
      <pc:sldChg chg="delSp">
        <pc:chgData name="Gabriele Be'" userId="S::10455288@polimi.it::7bf626d5-9dae-4fe7-9b21-8b110831bcf6" providerId="AD" clId="Web-{204C86BC-B0AA-4E0F-0F98-058FC30E4937}" dt="2024-03-26T17:42:40.856" v="0"/>
        <pc:sldMkLst>
          <pc:docMk/>
          <pc:sldMk cId="252918147" sldId="347"/>
        </pc:sldMkLst>
        <pc:spChg chg="del">
          <ac:chgData name="Gabriele Be'" userId="S::10455288@polimi.it::7bf626d5-9dae-4fe7-9b21-8b110831bcf6" providerId="AD" clId="Web-{204C86BC-B0AA-4E0F-0F98-058FC30E4937}" dt="2024-03-26T17:42:40.856" v="0"/>
          <ac:spMkLst>
            <pc:docMk/>
            <pc:sldMk cId="252918147" sldId="347"/>
            <ac:spMk id="6" creationId="{B603842A-1E04-C52E-1031-7D30535E2256}"/>
          </ac:spMkLst>
        </pc:spChg>
      </pc:sldChg>
    </pc:docChg>
  </pc:docChgLst>
  <pc:docChgLst>
    <pc:chgData name="Alessia Ceroni" userId="59238df8-040f-40e7-81e6-4838df61c6e5" providerId="ADAL" clId="{CC0633A6-D8FA-2343-AEB0-3F442ECCECB1}"/>
    <pc:docChg chg="undo redo custSel modSld">
      <pc:chgData name="Alessia Ceroni" userId="59238df8-040f-40e7-81e6-4838df61c6e5" providerId="ADAL" clId="{CC0633A6-D8FA-2343-AEB0-3F442ECCECB1}" dt="2024-10-17T12:58:39.196" v="24" actId="1076"/>
      <pc:docMkLst>
        <pc:docMk/>
      </pc:docMkLst>
      <pc:sldChg chg="addSp delSp modSp mod">
        <pc:chgData name="Alessia Ceroni" userId="59238df8-040f-40e7-81e6-4838df61c6e5" providerId="ADAL" clId="{CC0633A6-D8FA-2343-AEB0-3F442ECCECB1}" dt="2024-10-17T12:58:39.196" v="24" actId="1076"/>
        <pc:sldMkLst>
          <pc:docMk/>
          <pc:sldMk cId="2750387320" sldId="348"/>
        </pc:sldMkLst>
        <pc:spChg chg="add del mod">
          <ac:chgData name="Alessia Ceroni" userId="59238df8-040f-40e7-81e6-4838df61c6e5" providerId="ADAL" clId="{CC0633A6-D8FA-2343-AEB0-3F442ECCECB1}" dt="2024-10-17T12:56:11.692" v="15"/>
          <ac:spMkLst>
            <pc:docMk/>
            <pc:sldMk cId="2750387320" sldId="348"/>
            <ac:spMk id="2" creationId="{99B44097-C3E5-91E2-CCA1-DA1E07DC3D06}"/>
          </ac:spMkLst>
        </pc:spChg>
        <pc:spChg chg="del mod">
          <ac:chgData name="Alessia Ceroni" userId="59238df8-040f-40e7-81e6-4838df61c6e5" providerId="ADAL" clId="{CC0633A6-D8FA-2343-AEB0-3F442ECCECB1}" dt="2024-10-17T12:56:00.442" v="8" actId="478"/>
          <ac:spMkLst>
            <pc:docMk/>
            <pc:sldMk cId="2750387320" sldId="348"/>
            <ac:spMk id="3" creationId="{535B4869-A11A-6EBD-5587-4662C40C674D}"/>
          </ac:spMkLst>
        </pc:spChg>
        <pc:spChg chg="add del mod">
          <ac:chgData name="Alessia Ceroni" userId="59238df8-040f-40e7-81e6-4838df61c6e5" providerId="ADAL" clId="{CC0633A6-D8FA-2343-AEB0-3F442ECCECB1}" dt="2024-10-17T12:58:39.196" v="24" actId="1076"/>
          <ac:spMkLst>
            <pc:docMk/>
            <pc:sldMk cId="2750387320" sldId="348"/>
            <ac:spMk id="3" creationId="{F08127E2-11A3-6033-1925-C0879852E81E}"/>
          </ac:spMkLst>
        </pc:spChg>
        <pc:spChg chg="mod">
          <ac:chgData name="Alessia Ceroni" userId="59238df8-040f-40e7-81e6-4838df61c6e5" providerId="ADAL" clId="{CC0633A6-D8FA-2343-AEB0-3F442ECCECB1}" dt="2024-10-17T12:58:21.294" v="18" actId="20577"/>
          <ac:spMkLst>
            <pc:docMk/>
            <pc:sldMk cId="2750387320" sldId="348"/>
            <ac:spMk id="4" creationId="{5305BB04-765F-64F5-5C21-9E446AA76387}"/>
          </ac:spMkLst>
        </pc:spChg>
        <pc:picChg chg="add mod">
          <ac:chgData name="Alessia Ceroni" userId="59238df8-040f-40e7-81e6-4838df61c6e5" providerId="ADAL" clId="{CC0633A6-D8FA-2343-AEB0-3F442ECCECB1}" dt="2024-10-17T12:55:56.823" v="6"/>
          <ac:picMkLst>
            <pc:docMk/>
            <pc:sldMk cId="2750387320" sldId="348"/>
            <ac:picMk id="7" creationId="{BA13A2B0-70C9-F956-FC0E-B251C234C686}"/>
          </ac:picMkLst>
        </pc:picChg>
        <pc:picChg chg="add del mod">
          <ac:chgData name="Alessia Ceroni" userId="59238df8-040f-40e7-81e6-4838df61c6e5" providerId="ADAL" clId="{CC0633A6-D8FA-2343-AEB0-3F442ECCECB1}" dt="2024-10-17T12:58:24.821" v="20" actId="478"/>
          <ac:picMkLst>
            <pc:docMk/>
            <pc:sldMk cId="2750387320" sldId="348"/>
            <ac:picMk id="8" creationId="{4880D04D-C53C-DB7E-46A0-13FC0D21590C}"/>
          </ac:picMkLst>
        </pc:picChg>
      </pc:sldChg>
    </pc:docChg>
  </pc:docChgLst>
  <pc:docChgLst>
    <pc:chgData name="Alessia Ceroni" userId="59238df8-040f-40e7-81e6-4838df61c6e5" providerId="ADAL" clId="{920A2CF8-CBEA-4541-8085-AEE8B0022FA5}"/>
    <pc:docChg chg="undo custSel modSld">
      <pc:chgData name="Alessia Ceroni" userId="59238df8-040f-40e7-81e6-4838df61c6e5" providerId="ADAL" clId="{920A2CF8-CBEA-4541-8085-AEE8B0022FA5}" dt="2023-12-18T16:37:26.365" v="635" actId="20577"/>
      <pc:docMkLst>
        <pc:docMk/>
      </pc:docMkLst>
      <pc:sldChg chg="modSp mod">
        <pc:chgData name="Alessia Ceroni" userId="59238df8-040f-40e7-81e6-4838df61c6e5" providerId="ADAL" clId="{920A2CF8-CBEA-4541-8085-AEE8B0022FA5}" dt="2023-12-18T16:37:26.365" v="635" actId="20577"/>
        <pc:sldMkLst>
          <pc:docMk/>
          <pc:sldMk cId="2523226674" sldId="282"/>
        </pc:sldMkLst>
        <pc:spChg chg="mod">
          <ac:chgData name="Alessia Ceroni" userId="59238df8-040f-40e7-81e6-4838df61c6e5" providerId="ADAL" clId="{920A2CF8-CBEA-4541-8085-AEE8B0022FA5}" dt="2023-12-18T16:37:16.064" v="627" actId="255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Alessia Ceroni" userId="59238df8-040f-40e7-81e6-4838df61c6e5" providerId="ADAL" clId="{920A2CF8-CBEA-4541-8085-AEE8B0022FA5}" dt="2023-12-18T16:37:26.365" v="635" actId="20577"/>
          <ac:spMkLst>
            <pc:docMk/>
            <pc:sldMk cId="2523226674" sldId="282"/>
            <ac:spMk id="3" creationId="{01D288B1-15CE-766C-62CA-8CB12FDF2102}"/>
          </ac:spMkLst>
        </pc:spChg>
      </pc:sldChg>
    </pc:docChg>
  </pc:docChgLst>
  <pc:docChgLst>
    <pc:chgData name="Gabriele Zanoletti" userId="fc6666fa-3441-4ddc-a8b9-f69fbbdf5644" providerId="ADAL" clId="{FF896906-D997-4B2C-9772-B85E3A21DE27}"/>
    <pc:docChg chg="undo custSel delSld modSld sldOrd addSection modSection">
      <pc:chgData name="Gabriele Zanoletti" userId="fc6666fa-3441-4ddc-a8b9-f69fbbdf5644" providerId="ADAL" clId="{FF896906-D997-4B2C-9772-B85E3A21DE27}" dt="2024-01-25T12:01:57.728" v="4336" actId="47"/>
      <pc:docMkLst>
        <pc:docMk/>
      </pc:docMkLst>
      <pc:sldChg chg="modNotesTx">
        <pc:chgData name="Gabriele Zanoletti" userId="fc6666fa-3441-4ddc-a8b9-f69fbbdf5644" providerId="ADAL" clId="{FF896906-D997-4B2C-9772-B85E3A21DE27}" dt="2024-01-25T10:59:38.081" v="2267" actId="313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FF896906-D997-4B2C-9772-B85E3A21DE27}" dt="2024-01-25T11:01:31.654" v="2285" actId="20577"/>
        <pc:sldMkLst>
          <pc:docMk/>
          <pc:sldMk cId="994454846" sldId="291"/>
        </pc:sldMkLst>
      </pc:sldChg>
      <pc:sldChg chg="modNotesTx">
        <pc:chgData name="Gabriele Zanoletti" userId="fc6666fa-3441-4ddc-a8b9-f69fbbdf5644" providerId="ADAL" clId="{FF896906-D997-4B2C-9772-B85E3A21DE27}" dt="2024-01-25T11:02:11.017" v="2321" actId="20577"/>
        <pc:sldMkLst>
          <pc:docMk/>
          <pc:sldMk cId="3241623441" sldId="292"/>
        </pc:sldMkLst>
      </pc:sldChg>
      <pc:sldChg chg="modNotesTx">
        <pc:chgData name="Gabriele Zanoletti" userId="fc6666fa-3441-4ddc-a8b9-f69fbbdf5644" providerId="ADAL" clId="{FF896906-D997-4B2C-9772-B85E3A21DE27}" dt="2024-01-25T11:05:01.062" v="2333" actId="20577"/>
        <pc:sldMkLst>
          <pc:docMk/>
          <pc:sldMk cId="692283471" sldId="293"/>
        </pc:sldMkLst>
      </pc:sldChg>
      <pc:sldChg chg="modNotesTx">
        <pc:chgData name="Gabriele Zanoletti" userId="fc6666fa-3441-4ddc-a8b9-f69fbbdf5644" providerId="ADAL" clId="{FF896906-D997-4B2C-9772-B85E3A21DE27}" dt="2024-01-25T11:07:37.562" v="2341" actId="20577"/>
        <pc:sldMkLst>
          <pc:docMk/>
          <pc:sldMk cId="2858633819" sldId="294"/>
        </pc:sldMkLst>
      </pc:sldChg>
      <pc:sldChg chg="modSp mod modNotesTx">
        <pc:chgData name="Gabriele Zanoletti" userId="fc6666fa-3441-4ddc-a8b9-f69fbbdf5644" providerId="ADAL" clId="{FF896906-D997-4B2C-9772-B85E3A21DE27}" dt="2024-01-25T11:13:08.246" v="2449" actId="20577"/>
        <pc:sldMkLst>
          <pc:docMk/>
          <pc:sldMk cId="1570471128" sldId="296"/>
        </pc:sldMkLst>
        <pc:spChg chg="mod">
          <ac:chgData name="Gabriele Zanoletti" userId="fc6666fa-3441-4ddc-a8b9-f69fbbdf5644" providerId="ADAL" clId="{FF896906-D997-4B2C-9772-B85E3A21DE27}" dt="2024-01-25T11:13:08.246" v="2449" actId="20577"/>
          <ac:spMkLst>
            <pc:docMk/>
            <pc:sldMk cId="1570471128" sldId="296"/>
            <ac:spMk id="2" creationId="{51BBF078-C8A6-B19B-5A86-1388E178168E}"/>
          </ac:spMkLst>
        </pc:spChg>
      </pc:sldChg>
      <pc:sldChg chg="modSp mod modNotesTx">
        <pc:chgData name="Gabriele Zanoletti" userId="fc6666fa-3441-4ddc-a8b9-f69fbbdf5644" providerId="ADAL" clId="{FF896906-D997-4B2C-9772-B85E3A21DE27}" dt="2024-01-25T11:13:11.865" v="2455" actId="20577"/>
        <pc:sldMkLst>
          <pc:docMk/>
          <pc:sldMk cId="1604505303" sldId="297"/>
        </pc:sldMkLst>
        <pc:spChg chg="mod">
          <ac:chgData name="Gabriele Zanoletti" userId="fc6666fa-3441-4ddc-a8b9-f69fbbdf5644" providerId="ADAL" clId="{FF896906-D997-4B2C-9772-B85E3A21DE27}" dt="2024-01-25T11:13:11.865" v="2455" actId="20577"/>
          <ac:spMkLst>
            <pc:docMk/>
            <pc:sldMk cId="1604505303" sldId="297"/>
            <ac:spMk id="2" creationId="{51BBF078-C8A6-B19B-5A86-1388E178168E}"/>
          </ac:spMkLst>
        </pc:spChg>
      </pc:sldChg>
      <pc:sldChg chg="modNotesTx">
        <pc:chgData name="Gabriele Zanoletti" userId="fc6666fa-3441-4ddc-a8b9-f69fbbdf5644" providerId="ADAL" clId="{FF896906-D997-4B2C-9772-B85E3A21DE27}" dt="2024-01-25T11:21:43.063" v="2623" actId="20577"/>
        <pc:sldMkLst>
          <pc:docMk/>
          <pc:sldMk cId="1968516981" sldId="301"/>
        </pc:sldMkLst>
      </pc:sldChg>
      <pc:sldChg chg="modSp">
        <pc:chgData name="Gabriele Zanoletti" userId="fc6666fa-3441-4ddc-a8b9-f69fbbdf5644" providerId="ADAL" clId="{FF896906-D997-4B2C-9772-B85E3A21DE27}" dt="2024-01-25T11:23:48.317" v="2624" actId="14826"/>
        <pc:sldMkLst>
          <pc:docMk/>
          <pc:sldMk cId="3837282433" sldId="302"/>
        </pc:sldMkLst>
        <pc:picChg chg="mod">
          <ac:chgData name="Gabriele Zanoletti" userId="fc6666fa-3441-4ddc-a8b9-f69fbbdf5644" providerId="ADAL" clId="{FF896906-D997-4B2C-9772-B85E3A21DE27}" dt="2024-01-25T11:23:48.317" v="2624" actId="14826"/>
          <ac:picMkLst>
            <pc:docMk/>
            <pc:sldMk cId="3837282433" sldId="302"/>
            <ac:picMk id="8" creationId="{0275A399-5A21-F73B-9407-2CA0146F7624}"/>
          </ac:picMkLst>
        </pc:picChg>
      </pc:sldChg>
      <pc:sldChg chg="modSp mod modNotesTx">
        <pc:chgData name="Gabriele Zanoletti" userId="fc6666fa-3441-4ddc-a8b9-f69fbbdf5644" providerId="ADAL" clId="{FF896906-D997-4B2C-9772-B85E3A21DE27}" dt="2024-01-25T11:26:00.998" v="276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FF896906-D997-4B2C-9772-B85E3A21DE27}" dt="2024-01-25T11:25:26.698" v="2651" actId="20577"/>
          <ac:spMkLst>
            <pc:docMk/>
            <pc:sldMk cId="4147670638" sldId="304"/>
            <ac:spMk id="6" creationId="{8CC18997-6459-6455-C20C-C4A81EB8C7CF}"/>
          </ac:spMkLst>
        </pc:spChg>
      </pc:sldChg>
      <pc:sldChg chg="modNotesTx">
        <pc:chgData name="Gabriele Zanoletti" userId="fc6666fa-3441-4ddc-a8b9-f69fbbdf5644" providerId="ADAL" clId="{FF896906-D997-4B2C-9772-B85E3A21DE27}" dt="2024-01-25T11:27:30.966" v="2812" actId="20577"/>
        <pc:sldMkLst>
          <pc:docMk/>
          <pc:sldMk cId="4004401706" sldId="306"/>
        </pc:sldMkLst>
      </pc:sldChg>
      <pc:sldChg chg="modSp modNotesTx">
        <pc:chgData name="Gabriele Zanoletti" userId="fc6666fa-3441-4ddc-a8b9-f69fbbdf5644" providerId="ADAL" clId="{FF896906-D997-4B2C-9772-B85E3A21DE27}" dt="2024-01-25T11:29:43.790" v="2875" actId="20577"/>
        <pc:sldMkLst>
          <pc:docMk/>
          <pc:sldMk cId="3230328343" sldId="307"/>
        </pc:sldMkLst>
        <pc:picChg chg="mod">
          <ac:chgData name="Gabriele Zanoletti" userId="fc6666fa-3441-4ddc-a8b9-f69fbbdf5644" providerId="ADAL" clId="{FF896906-D997-4B2C-9772-B85E3A21DE27}" dt="2024-01-25T09:37:28.161" v="0" actId="14826"/>
          <ac:picMkLst>
            <pc:docMk/>
            <pc:sldMk cId="3230328343" sldId="307"/>
            <ac:picMk id="6" creationId="{9F48A76D-807C-C4A1-0F15-F6A6A11713ED}"/>
          </ac:picMkLst>
        </pc:picChg>
      </pc:sldChg>
      <pc:sldChg chg="modNotesTx">
        <pc:chgData name="Gabriele Zanoletti" userId="fc6666fa-3441-4ddc-a8b9-f69fbbdf5644" providerId="ADAL" clId="{FF896906-D997-4B2C-9772-B85E3A21DE27}" dt="2024-01-25T11:30:10.906" v="2897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FF896906-D997-4B2C-9772-B85E3A21DE27}" dt="2024-01-25T11:34:51.199" v="3073" actId="20577"/>
        <pc:sldMkLst>
          <pc:docMk/>
          <pc:sldMk cId="3056404990" sldId="310"/>
        </pc:sldMkLst>
      </pc:sldChg>
      <pc:sldChg chg="modSp mod modNotesTx">
        <pc:chgData name="Gabriele Zanoletti" userId="fc6666fa-3441-4ddc-a8b9-f69fbbdf5644" providerId="ADAL" clId="{FF896906-D997-4B2C-9772-B85E3A21DE27}" dt="2024-01-25T11:49:25.149" v="3894" actId="20577"/>
        <pc:sldMkLst>
          <pc:docMk/>
          <pc:sldMk cId="2059814184" sldId="314"/>
        </pc:sldMkLst>
        <pc:spChg chg="mod">
          <ac:chgData name="Gabriele Zanoletti" userId="fc6666fa-3441-4ddc-a8b9-f69fbbdf5644" providerId="ADAL" clId="{FF896906-D997-4B2C-9772-B85E3A21DE27}" dt="2024-01-25T11:46:22.897" v="3644" actId="113"/>
          <ac:spMkLst>
            <pc:docMk/>
            <pc:sldMk cId="2059814184" sldId="314"/>
            <ac:spMk id="8" creationId="{84C0628F-958C-CDC1-DBF7-C63F98DAF699}"/>
          </ac:spMkLst>
        </pc:spChg>
      </pc:sldChg>
      <pc:sldChg chg="modNotesTx">
        <pc:chgData name="Gabriele Zanoletti" userId="fc6666fa-3441-4ddc-a8b9-f69fbbdf5644" providerId="ADAL" clId="{FF896906-D997-4B2C-9772-B85E3A21DE27}" dt="2024-01-25T11:55:20.280" v="4250" actId="20577"/>
        <pc:sldMkLst>
          <pc:docMk/>
          <pc:sldMk cId="2060001824" sldId="316"/>
        </pc:sldMkLst>
      </pc:sldChg>
      <pc:sldChg chg="modNotesTx">
        <pc:chgData name="Gabriele Zanoletti" userId="fc6666fa-3441-4ddc-a8b9-f69fbbdf5644" providerId="ADAL" clId="{FF896906-D997-4B2C-9772-B85E3A21DE27}" dt="2024-01-25T11:54:18.193" v="4174" actId="20577"/>
        <pc:sldMkLst>
          <pc:docMk/>
          <pc:sldMk cId="4110969131" sldId="317"/>
        </pc:sldMkLst>
      </pc:sldChg>
      <pc:sldChg chg="modNotesTx">
        <pc:chgData name="Gabriele Zanoletti" userId="fc6666fa-3441-4ddc-a8b9-f69fbbdf5644" providerId="ADAL" clId="{FF896906-D997-4B2C-9772-B85E3A21DE27}" dt="2024-01-25T11:55:48.282" v="4255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FF896906-D997-4B2C-9772-B85E3A21DE27}" dt="2024-01-25T12:00:35.540" v="4331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FF896906-D997-4B2C-9772-B85E3A21DE27}" dt="2024-01-25T11:21:10.080" v="2604" actId="20577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FF896906-D997-4B2C-9772-B85E3A21DE27}" dt="2024-01-25T12:01:46.162" v="4334" actId="20577"/>
        <pc:sldMkLst>
          <pc:docMk/>
          <pc:sldMk cId="1343076952" sldId="326"/>
        </pc:sldMkLst>
      </pc:sldChg>
      <pc:sldChg chg="modSp mod modNotesTx">
        <pc:chgData name="Gabriele Zanoletti" userId="fc6666fa-3441-4ddc-a8b9-f69fbbdf5644" providerId="ADAL" clId="{FF896906-D997-4B2C-9772-B85E3A21DE27}" dt="2024-01-25T11:10:19.081" v="2370" actId="20577"/>
        <pc:sldMkLst>
          <pc:docMk/>
          <pc:sldMk cId="897985928" sldId="332"/>
        </pc:sldMkLst>
        <pc:spChg chg="mod">
          <ac:chgData name="Gabriele Zanoletti" userId="fc6666fa-3441-4ddc-a8b9-f69fbbdf5644" providerId="ADAL" clId="{FF896906-D997-4B2C-9772-B85E3A21DE27}" dt="2024-01-25T11:09:21.271" v="2350" actId="20577"/>
          <ac:spMkLst>
            <pc:docMk/>
            <pc:sldMk cId="897985928" sldId="332"/>
            <ac:spMk id="3" creationId="{ECF25438-A5BE-19F8-650F-EE51DE5BF1C6}"/>
          </ac:spMkLst>
        </pc:spChg>
      </pc:sldChg>
      <pc:sldChg chg="modNotesTx">
        <pc:chgData name="Gabriele Zanoletti" userId="fc6666fa-3441-4ddc-a8b9-f69fbbdf5644" providerId="ADAL" clId="{FF896906-D997-4B2C-9772-B85E3A21DE27}" dt="2024-01-25T11:18:32.671" v="2524" actId="20577"/>
        <pc:sldMkLst>
          <pc:docMk/>
          <pc:sldMk cId="1171648230" sldId="333"/>
        </pc:sldMkLst>
      </pc:sldChg>
      <pc:sldChg chg="modNotesTx">
        <pc:chgData name="Gabriele Zanoletti" userId="fc6666fa-3441-4ddc-a8b9-f69fbbdf5644" providerId="ADAL" clId="{FF896906-D997-4B2C-9772-B85E3A21DE27}" dt="2024-01-25T11:31:46.487" v="2943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FF896906-D997-4B2C-9772-B85E3A21DE27}" dt="2024-01-25T11:37:18.404" v="3178" actId="20577"/>
        <pc:sldMkLst>
          <pc:docMk/>
          <pc:sldMk cId="349029065" sldId="336"/>
        </pc:sldMkLst>
      </pc:sldChg>
      <pc:sldChg chg="modSp mod modNotesTx">
        <pc:chgData name="Gabriele Zanoletti" userId="fc6666fa-3441-4ddc-a8b9-f69fbbdf5644" providerId="ADAL" clId="{FF896906-D997-4B2C-9772-B85E3A21DE27}" dt="2024-01-25T11:34:36.035" v="3068" actId="20577"/>
        <pc:sldMkLst>
          <pc:docMk/>
          <pc:sldMk cId="3040321551" sldId="337"/>
        </pc:sldMkLst>
        <pc:spChg chg="mod">
          <ac:chgData name="Gabriele Zanoletti" userId="fc6666fa-3441-4ddc-a8b9-f69fbbdf5644" providerId="ADAL" clId="{FF896906-D997-4B2C-9772-B85E3A21DE27}" dt="2024-01-25T11:34:36.035" v="3068" actId="20577"/>
          <ac:spMkLst>
            <pc:docMk/>
            <pc:sldMk cId="3040321551" sldId="337"/>
            <ac:spMk id="5" creationId="{E2FA6CCD-7EDD-B4B4-61D0-2CF69F2DC992}"/>
          </ac:spMkLst>
        </pc:spChg>
      </pc:sldChg>
      <pc:sldChg chg="modNotesTx">
        <pc:chgData name="Gabriele Zanoletti" userId="fc6666fa-3441-4ddc-a8b9-f69fbbdf5644" providerId="ADAL" clId="{FF896906-D997-4B2C-9772-B85E3A21DE27}" dt="2024-01-25T11:45:37.972" v="3614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FF896906-D997-4B2C-9772-B85E3A21DE27}" dt="2024-01-25T11:39:56.296" v="3239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FF896906-D997-4B2C-9772-B85E3A21DE27}" dt="2024-01-25T11:42:41.425" v="3453" actId="20577"/>
        <pc:sldMkLst>
          <pc:docMk/>
          <pc:sldMk cId="2889248117" sldId="341"/>
        </pc:sldMkLst>
      </pc:sldChg>
      <pc:sldChg chg="del ord">
        <pc:chgData name="Gabriele Zanoletti" userId="fc6666fa-3441-4ddc-a8b9-f69fbbdf5644" providerId="ADAL" clId="{FF896906-D997-4B2C-9772-B85E3A21DE27}" dt="2024-01-25T12:01:56.614" v="4335" actId="47"/>
        <pc:sldMkLst>
          <pc:docMk/>
          <pc:sldMk cId="3557329851" sldId="343"/>
        </pc:sldMkLst>
      </pc:sldChg>
      <pc:sldChg chg="del ord">
        <pc:chgData name="Gabriele Zanoletti" userId="fc6666fa-3441-4ddc-a8b9-f69fbbdf5644" providerId="ADAL" clId="{FF896906-D997-4B2C-9772-B85E3A21DE27}" dt="2024-01-25T12:01:57.728" v="4336" actId="4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FF896906-D997-4B2C-9772-B85E3A21DE27}" dt="2024-01-25T11:39:09.072" v="3190" actId="20577"/>
        <pc:sldMkLst>
          <pc:docMk/>
          <pc:sldMk cId="782384403" sldId="345"/>
        </pc:sldMkLst>
      </pc:sldChg>
      <pc:sldChg chg="modNotesTx">
        <pc:chgData name="Gabriele Zanoletti" userId="fc6666fa-3441-4ddc-a8b9-f69fbbdf5644" providerId="ADAL" clId="{FF896906-D997-4B2C-9772-B85E3A21DE27}" dt="2024-01-25T11:19:21.462" v="2531" actId="20577"/>
        <pc:sldMkLst>
          <pc:docMk/>
          <pc:sldMk cId="977858740" sldId="346"/>
        </pc:sldMkLst>
      </pc:sldChg>
      <pc:sldChg chg="modNotesTx">
        <pc:chgData name="Gabriele Zanoletti" userId="fc6666fa-3441-4ddc-a8b9-f69fbbdf5644" providerId="ADAL" clId="{FF896906-D997-4B2C-9772-B85E3A21DE27}" dt="2024-01-25T10:57:48.821" v="2244" actId="20577"/>
        <pc:sldMkLst>
          <pc:docMk/>
          <pc:sldMk cId="252918147" sldId="347"/>
        </pc:sldMkLst>
      </pc:sldChg>
      <pc:sldChg chg="modSp mod modNotesTx">
        <pc:chgData name="Gabriele Zanoletti" userId="fc6666fa-3441-4ddc-a8b9-f69fbbdf5644" providerId="ADAL" clId="{FF896906-D997-4B2C-9772-B85E3A21DE27}" dt="2024-01-25T09:51:00.578" v="1375" actId="20577"/>
        <pc:sldMkLst>
          <pc:docMk/>
          <pc:sldMk cId="3489691726" sldId="348"/>
        </pc:sldMkLst>
        <pc:spChg chg="mod">
          <ac:chgData name="Gabriele Zanoletti" userId="fc6666fa-3441-4ddc-a8b9-f69fbbdf5644" providerId="ADAL" clId="{FF896906-D997-4B2C-9772-B85E3A21DE27}" dt="2024-01-25T09:48:08.841" v="875" actId="14100"/>
          <ac:spMkLst>
            <pc:docMk/>
            <pc:sldMk cId="3489691726" sldId="348"/>
            <ac:spMk id="6" creationId="{91623543-6B41-2D96-D1AA-92E18BFE0BFF}"/>
          </ac:spMkLst>
        </pc:spChg>
        <pc:picChg chg="mod">
          <ac:chgData name="Gabriele Zanoletti" userId="fc6666fa-3441-4ddc-a8b9-f69fbbdf5644" providerId="ADAL" clId="{FF896906-D997-4B2C-9772-B85E3A21DE27}" dt="2024-01-25T09:48:27.387" v="902" actId="1037"/>
          <ac:picMkLst>
            <pc:docMk/>
            <pc:sldMk cId="3489691726" sldId="348"/>
            <ac:picMk id="7" creationId="{BF47B201-4C7A-808B-4502-11BCAE8039BE}"/>
          </ac:picMkLst>
        </pc:picChg>
      </pc:sldChg>
    </pc:docChg>
  </pc:docChgLst>
  <pc:docChgLst>
    <pc:chgData name="Luca Ricci" userId="S::10451631@polimi.it::ee5f09d5-0832-4e68-94c9-d8bfd2ad04f0" providerId="AD" clId="Web-{B2D310EA-72CF-4690-94EE-78BFEA809EFD}"/>
    <pc:docChg chg="modSld">
      <pc:chgData name="Luca Ricci" userId="S::10451631@polimi.it::ee5f09d5-0832-4e68-94c9-d8bfd2ad04f0" providerId="AD" clId="Web-{B2D310EA-72CF-4690-94EE-78BFEA809EFD}" dt="2024-01-23T15:58:01.521" v="949" actId="20577"/>
      <pc:docMkLst>
        <pc:docMk/>
      </pc:docMkLst>
      <pc:sldChg chg="modSp">
        <pc:chgData name="Luca Ricci" userId="S::10451631@polimi.it::ee5f09d5-0832-4e68-94c9-d8bfd2ad04f0" providerId="AD" clId="Web-{B2D310EA-72CF-4690-94EE-78BFEA809EFD}" dt="2024-01-23T15:26:33.096" v="66" actId="20577"/>
        <pc:sldMkLst>
          <pc:docMk/>
          <pc:sldMk cId="994454846" sldId="291"/>
        </pc:sldMkLst>
        <pc:spChg chg="mod">
          <ac:chgData name="Luca Ricci" userId="S::10451631@polimi.it::ee5f09d5-0832-4e68-94c9-d8bfd2ad04f0" providerId="AD" clId="Web-{B2D310EA-72CF-4690-94EE-78BFEA809EFD}" dt="2024-01-23T15:26:33.096" v="66" actId="20577"/>
          <ac:spMkLst>
            <pc:docMk/>
            <pc:sldMk cId="994454846" sldId="291"/>
            <ac:spMk id="9" creationId="{384C8E91-B72A-D715-878D-3115E7D21AE9}"/>
          </ac:spMkLst>
        </pc:spChg>
      </pc:sldChg>
      <pc:sldChg chg="addSp delSp modSp mod modClrScheme chgLayout">
        <pc:chgData name="Luca Ricci" userId="S::10451631@polimi.it::ee5f09d5-0832-4e68-94c9-d8bfd2ad04f0" providerId="AD" clId="Web-{B2D310EA-72CF-4690-94EE-78BFEA809EFD}" dt="2024-01-23T15:58:01.521" v="949" actId="20577"/>
        <pc:sldMkLst>
          <pc:docMk/>
          <pc:sldMk cId="4109715435" sldId="313"/>
        </pc:sldMkLst>
        <pc:spChg chg="mod ord">
          <ac:chgData name="Luca Ricci" userId="S::10451631@polimi.it::ee5f09d5-0832-4e68-94c9-d8bfd2ad04f0" providerId="AD" clId="Web-{B2D310EA-72CF-4690-94EE-78BFEA809EFD}" dt="2024-01-23T15:41:51.589" v="722" actId="20577"/>
          <ac:spMkLst>
            <pc:docMk/>
            <pc:sldMk cId="4109715435" sldId="313"/>
            <ac:spMk id="2" creationId="{2764E89C-42F0-7F7D-800A-DA392F66BC91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3" creationId="{937AAAB0-FB21-FB0E-A628-9C20C23B6347}"/>
          </ac:spMkLst>
        </pc:spChg>
        <pc:spChg chg="mod ord">
          <ac:chgData name="Luca Ricci" userId="S::10451631@polimi.it::ee5f09d5-0832-4e68-94c9-d8bfd2ad04f0" providerId="AD" clId="Web-{B2D310EA-72CF-4690-94EE-78BFEA809EFD}" dt="2024-01-23T15:29:45.773" v="89"/>
          <ac:spMkLst>
            <pc:docMk/>
            <pc:sldMk cId="4109715435" sldId="313"/>
            <ac:spMk id="4" creationId="{AAB1B8BC-4F92-6038-D555-1AD1EDEF431A}"/>
          </ac:spMkLst>
        </pc:spChg>
        <pc:spChg chg="add del mod ord">
          <ac:chgData name="Luca Ricci" userId="S::10451631@polimi.it::ee5f09d5-0832-4e68-94c9-d8bfd2ad04f0" providerId="AD" clId="Web-{B2D310EA-72CF-4690-94EE-78BFEA809EFD}" dt="2024-01-23T15:30:00.117" v="92"/>
          <ac:spMkLst>
            <pc:docMk/>
            <pc:sldMk cId="4109715435" sldId="313"/>
            <ac:spMk id="5" creationId="{42712514-1EB7-83FB-F854-2424E1C5F6FC}"/>
          </ac:spMkLst>
        </pc:spChg>
        <pc:spChg chg="add mod ord">
          <ac:chgData name="Luca Ricci" userId="S::10451631@polimi.it::ee5f09d5-0832-4e68-94c9-d8bfd2ad04f0" providerId="AD" clId="Web-{B2D310EA-72CF-4690-94EE-78BFEA809EFD}" dt="2024-01-23T15:58:01.521" v="949" actId="20577"/>
          <ac:spMkLst>
            <pc:docMk/>
            <pc:sldMk cId="4109715435" sldId="313"/>
            <ac:spMk id="7" creationId="{8ED043E4-ED32-1DA9-33FC-E4B34D009A79}"/>
          </ac:spMkLst>
        </pc:spChg>
        <pc:picChg chg="add del mod">
          <ac:chgData name="Luca Ricci" userId="S::10451631@polimi.it::ee5f09d5-0832-4e68-94c9-d8bfd2ad04f0" providerId="AD" clId="Web-{B2D310EA-72CF-4690-94EE-78BFEA809EFD}" dt="2024-01-23T15:50:29.821" v="912" actId="1076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Luca Ricci" userId="S::10451631@polimi.it::ee5f09d5-0832-4e68-94c9-d8bfd2ad04f0" providerId="AD" clId="Web-{01963A96-2E06-E2CD-1350-082BA7D4CF1B}"/>
    <pc:docChg chg="modSld">
      <pc:chgData name="Luca Ricci" userId="S::10451631@polimi.it::ee5f09d5-0832-4e68-94c9-d8bfd2ad04f0" providerId="AD" clId="Web-{01963A96-2E06-E2CD-1350-082BA7D4CF1B}" dt="2024-01-24T10:24:38.882" v="320"/>
      <pc:docMkLst>
        <pc:docMk/>
      </pc:docMkLst>
      <pc:sldChg chg="addSp delSp modSp modNotes">
        <pc:chgData name="Luca Ricci" userId="S::10451631@polimi.it::ee5f09d5-0832-4e68-94c9-d8bfd2ad04f0" providerId="AD" clId="Web-{01963A96-2E06-E2CD-1350-082BA7D4CF1B}" dt="2024-01-24T10:24:38.882" v="320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1963A96-2E06-E2CD-1350-082BA7D4CF1B}" dt="2024-01-24T10:24:38.882" v="320"/>
          <ac:picMkLst>
            <pc:docMk/>
            <pc:sldMk cId="4109715435" sldId="313"/>
            <ac:picMk id="5" creationId="{CA4B9B14-FA33-53DB-09E4-CEE578977A56}"/>
          </ac:picMkLst>
        </pc:picChg>
        <pc:picChg chg="del">
          <ac:chgData name="Luca Ricci" userId="S::10451631@polimi.it::ee5f09d5-0832-4e68-94c9-d8bfd2ad04f0" providerId="AD" clId="Web-{01963A96-2E06-E2CD-1350-082BA7D4CF1B}" dt="2024-01-24T10:21:46.517" v="318"/>
          <ac:picMkLst>
            <pc:docMk/>
            <pc:sldMk cId="4109715435" sldId="313"/>
            <ac:picMk id="6" creationId="{081E3E13-A1F1-4FF3-9F97-8D0431E79976}"/>
          </ac:picMkLst>
        </pc:picChg>
      </pc:sldChg>
    </pc:docChg>
  </pc:docChgLst>
  <pc:docChgLst>
    <pc:chgData name="Michele Rocco" userId="b98ebe7a-7641-4b10-bb82-27245654a50a" providerId="ADAL" clId="{0D83CF57-C9B6-4044-A52F-C1CAB1FC6A96}"/>
    <pc:docChg chg="undo custSel addSld modSld">
      <pc:chgData name="Michele Rocco" userId="b98ebe7a-7641-4b10-bb82-27245654a50a" providerId="ADAL" clId="{0D83CF57-C9B6-4044-A52F-C1CAB1FC6A96}" dt="2023-12-18T17:35:05.639" v="287" actId="20577"/>
      <pc:docMkLst>
        <pc:docMk/>
      </pc:docMkLst>
      <pc:sldChg chg="modSp mod">
        <pc:chgData name="Michele Rocco" userId="b98ebe7a-7641-4b10-bb82-27245654a50a" providerId="ADAL" clId="{0D83CF57-C9B6-4044-A52F-C1CAB1FC6A96}" dt="2023-12-18T17:35:05.639" v="287" actId="20577"/>
        <pc:sldMkLst>
          <pc:docMk/>
          <pc:sldMk cId="3601296254" sldId="258"/>
        </pc:sldMkLst>
        <pc:spChg chg="mod">
          <ac:chgData name="Michele Rocco" userId="b98ebe7a-7641-4b10-bb82-27245654a50a" providerId="ADAL" clId="{0D83CF57-C9B6-4044-A52F-C1CAB1FC6A96}" dt="2023-12-18T17:35:05.639" v="287" actId="20577"/>
          <ac:spMkLst>
            <pc:docMk/>
            <pc:sldMk cId="3601296254" sldId="258"/>
            <ac:spMk id="4" creationId="{1AC29BDC-7CB8-266E-07CF-D9D5D9169AC3}"/>
          </ac:spMkLst>
        </pc:spChg>
      </pc:sldChg>
      <pc:sldChg chg="addSp delSp modSp mod">
        <pc:chgData name="Michele Rocco" userId="b98ebe7a-7641-4b10-bb82-27245654a50a" providerId="ADAL" clId="{0D83CF57-C9B6-4044-A52F-C1CAB1FC6A96}" dt="2023-12-18T17:27:53.621" v="233" actId="478"/>
        <pc:sldMkLst>
          <pc:docMk/>
          <pc:sldMk cId="2523226674" sldId="282"/>
        </pc:sldMkLst>
        <pc:graphicFrameChg chg="add del mod">
          <ac:chgData name="Michele Rocco" userId="b98ebe7a-7641-4b10-bb82-27245654a50a" providerId="ADAL" clId="{0D83CF57-C9B6-4044-A52F-C1CAB1FC6A96}" dt="2023-12-18T17:27:53.621" v="233" actId="478"/>
          <ac:graphicFrameMkLst>
            <pc:docMk/>
            <pc:sldMk cId="2523226674" sldId="282"/>
            <ac:graphicFrameMk id="6" creationId="{FC0D6606-7954-0FEB-72E6-2166F378BAA1}"/>
          </ac:graphicFrameMkLst>
        </pc:graphicFrameChg>
      </pc:sldChg>
      <pc:sldChg chg="addSp delSp modSp new mod modClrScheme chgLayout">
        <pc:chgData name="Michele Rocco" userId="b98ebe7a-7641-4b10-bb82-27245654a50a" providerId="ADAL" clId="{0D83CF57-C9B6-4044-A52F-C1CAB1FC6A96}" dt="2023-12-18T17:30:40.913" v="283" actId="20577"/>
        <pc:sldMkLst>
          <pc:docMk/>
          <pc:sldMk cId="4187071354" sldId="287"/>
        </pc:sldMkLst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2" creationId="{87FB6796-05B4-7052-F8B0-29BA2576858F}"/>
          </ac:spMkLst>
        </pc:spChg>
        <pc:spChg chg="del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3" creationId="{FB7DF140-14FD-F261-21B0-9DDD57A54BD9}"/>
          </ac:spMkLst>
        </pc:spChg>
        <pc:spChg chg="del 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4" creationId="{42EADF34-C923-74F8-07D7-1B38227EE704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5" creationId="{85E8FC01-C88D-1C46-58C5-5698342860A0}"/>
          </ac:spMkLst>
        </pc:spChg>
        <pc:spChg chg="mod ord">
          <ac:chgData name="Michele Rocco" userId="b98ebe7a-7641-4b10-bb82-27245654a50a" providerId="ADAL" clId="{0D83CF57-C9B6-4044-A52F-C1CAB1FC6A96}" dt="2023-12-18T15:41:48.072" v="1" actId="700"/>
          <ac:spMkLst>
            <pc:docMk/>
            <pc:sldMk cId="4187071354" sldId="287"/>
            <ac:spMk id="6" creationId="{F740E32E-2968-89FA-D189-C114885040CF}"/>
          </ac:spMkLst>
        </pc:spChg>
        <pc:spChg chg="add mod ord">
          <ac:chgData name="Michele Rocco" userId="b98ebe7a-7641-4b10-bb82-27245654a50a" providerId="ADAL" clId="{0D83CF57-C9B6-4044-A52F-C1CAB1FC6A96}" dt="2023-12-18T15:45:53.834" v="208" actId="5793"/>
          <ac:spMkLst>
            <pc:docMk/>
            <pc:sldMk cId="4187071354" sldId="287"/>
            <ac:spMk id="7" creationId="{1831B4C8-BE7C-5A59-D3B4-3B0DC386F8C3}"/>
          </ac:spMkLst>
        </pc:spChg>
        <pc:spChg chg="add del mod ord">
          <ac:chgData name="Michele Rocco" userId="b98ebe7a-7641-4b10-bb82-27245654a50a" providerId="ADAL" clId="{0D83CF57-C9B6-4044-A52F-C1CAB1FC6A96}" dt="2023-12-18T15:42:09.266" v="21" actId="931"/>
          <ac:spMkLst>
            <pc:docMk/>
            <pc:sldMk cId="4187071354" sldId="287"/>
            <ac:spMk id="8" creationId="{EC8D793D-9799-0F4B-13FA-02EF60891B12}"/>
          </ac:spMkLst>
        </pc:spChg>
        <pc:spChg chg="add mod">
          <ac:chgData name="Michele Rocco" userId="b98ebe7a-7641-4b10-bb82-27245654a50a" providerId="ADAL" clId="{0D83CF57-C9B6-4044-A52F-C1CAB1FC6A96}" dt="2023-12-18T17:30:40.913" v="283" actId="20577"/>
          <ac:spMkLst>
            <pc:docMk/>
            <pc:sldMk cId="4187071354" sldId="287"/>
            <ac:spMk id="11" creationId="{6D47CCCD-B115-E6F3-B8DB-8F6A35E8F9BA}"/>
          </ac:spMkLst>
        </pc:spChg>
        <pc:picChg chg="add mod">
          <ac:chgData name="Michele Rocco" userId="b98ebe7a-7641-4b10-bb82-27245654a50a" providerId="ADAL" clId="{0D83CF57-C9B6-4044-A52F-C1CAB1FC6A96}" dt="2023-12-18T15:42:42.777" v="25" actId="1076"/>
          <ac:picMkLst>
            <pc:docMk/>
            <pc:sldMk cId="4187071354" sldId="287"/>
            <ac:picMk id="10" creationId="{C65F004F-8A14-B0D6-FE95-4E6939E0DA69}"/>
          </ac:picMkLst>
        </pc:picChg>
      </pc:sldChg>
    </pc:docChg>
  </pc:docChgLst>
  <pc:docChgLst>
    <pc:chgData name="Michele Rocco" userId="b98ebe7a-7641-4b10-bb82-27245654a50a" providerId="ADAL" clId="{05A8CA33-8AB0-4B87-A00A-3A9C909B6976}"/>
    <pc:docChg chg="undo redo custSel addSld modSld modMainMaster">
      <pc:chgData name="Michele Rocco" userId="b98ebe7a-7641-4b10-bb82-27245654a50a" providerId="ADAL" clId="{05A8CA33-8AB0-4B87-A00A-3A9C909B6976}" dt="2024-01-24T09:20:27.618" v="10653" actId="20577"/>
      <pc:docMkLst>
        <pc:docMk/>
      </pc:docMkLst>
      <pc:sldChg chg="modSp mod">
        <pc:chgData name="Michele Rocco" userId="b98ebe7a-7641-4b10-bb82-27245654a50a" providerId="ADAL" clId="{05A8CA33-8AB0-4B87-A00A-3A9C909B6976}" dt="2024-01-23T16:57:00.547" v="6" actId="790"/>
        <pc:sldMkLst>
          <pc:docMk/>
          <pc:sldMk cId="3601296254" sldId="258"/>
        </pc:sldMkLst>
        <pc:spChg chg="mod">
          <ac:chgData name="Michele Rocco" userId="b98ebe7a-7641-4b10-bb82-27245654a50a" providerId="ADAL" clId="{05A8CA33-8AB0-4B87-A00A-3A9C909B6976}" dt="2024-01-23T16:57:00.547" v="6" actId="790"/>
          <ac:spMkLst>
            <pc:docMk/>
            <pc:sldMk cId="3601296254" sldId="258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6" v="5" actId="790"/>
          <ac:spMkLst>
            <pc:docMk/>
            <pc:sldMk cId="3601296254" sldId="258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543" v="4" actId="790"/>
        <pc:sldMkLst>
          <pc:docMk/>
          <pc:sldMk cId="913701754" sldId="267"/>
        </pc:sldMkLst>
        <pc:spChg chg="mod">
          <ac:chgData name="Michele Rocco" userId="b98ebe7a-7641-4b10-bb82-27245654a50a" providerId="ADAL" clId="{05A8CA33-8AB0-4B87-A00A-3A9C909B6976}" dt="2024-01-23T16:57:00.541" v="3" actId="790"/>
          <ac:spMkLst>
            <pc:docMk/>
            <pc:sldMk cId="913701754" sldId="267"/>
            <ac:spMk id="2" creationId="{B40086CB-E149-4C33-F1BF-6132B0867F59}"/>
          </ac:spMkLst>
        </pc:spChg>
        <pc:spChg chg="mod">
          <ac:chgData name="Michele Rocco" userId="b98ebe7a-7641-4b10-bb82-27245654a50a" providerId="ADAL" clId="{05A8CA33-8AB0-4B87-A00A-3A9C909B6976}" dt="2024-01-23T16:57:00.540" v="2" actId="790"/>
          <ac:spMkLst>
            <pc:docMk/>
            <pc:sldMk cId="913701754" sldId="267"/>
            <ac:spMk id="3" creationId="{8D39D37D-9355-8216-502B-248CE6B8D7D6}"/>
          </ac:spMkLst>
        </pc:spChg>
        <pc:spChg chg="mod">
          <ac:chgData name="Michele Rocco" userId="b98ebe7a-7641-4b10-bb82-27245654a50a" providerId="ADAL" clId="{05A8CA33-8AB0-4B87-A00A-3A9C909B6976}" dt="2024-01-23T16:57:00.543" v="4" actId="790"/>
          <ac:spMkLst>
            <pc:docMk/>
            <pc:sldMk cId="913701754" sldId="267"/>
            <ac:spMk id="5" creationId="{E21AFF28-0883-405B-A8DD-D42393A233A2}"/>
          </ac:spMkLst>
        </pc:spChg>
      </pc:sldChg>
      <pc:sldChg chg="modSp mod">
        <pc:chgData name="Michele Rocco" userId="b98ebe7a-7641-4b10-bb82-27245654a50a" providerId="ADAL" clId="{05A8CA33-8AB0-4B87-A00A-3A9C909B6976}" dt="2024-01-23T16:57:00.555" v="12" actId="790"/>
        <pc:sldMkLst>
          <pc:docMk/>
          <pc:sldMk cId="994454846" sldId="291"/>
        </pc:sldMkLst>
        <pc:spChg chg="mod">
          <ac:chgData name="Michele Rocco" userId="b98ebe7a-7641-4b10-bb82-27245654a50a" providerId="ADAL" clId="{05A8CA33-8AB0-4B87-A00A-3A9C909B6976}" dt="2024-01-23T16:57:00.547" v="9" actId="790"/>
          <ac:spMkLst>
            <pc:docMk/>
            <pc:sldMk cId="994454846" sldId="291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47" v="10" actId="790"/>
          <ac:spMkLst>
            <pc:docMk/>
            <pc:sldMk cId="994454846" sldId="291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47" v="11" actId="790"/>
          <ac:spMkLst>
            <pc:docMk/>
            <pc:sldMk cId="994454846" sldId="291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5" v="12" actId="790"/>
          <ac:spMkLst>
            <pc:docMk/>
            <pc:sldMk cId="994454846" sldId="291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57" v="16" actId="790"/>
        <pc:sldMkLst>
          <pc:docMk/>
          <pc:sldMk cId="3241623441" sldId="292"/>
        </pc:sldMkLst>
        <pc:spChg chg="mod">
          <ac:chgData name="Michele Rocco" userId="b98ebe7a-7641-4b10-bb82-27245654a50a" providerId="ADAL" clId="{05A8CA33-8AB0-4B87-A00A-3A9C909B6976}" dt="2024-01-23T16:57:00.556" v="13" actId="790"/>
          <ac:spMkLst>
            <pc:docMk/>
            <pc:sldMk cId="3241623441" sldId="292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6" v="14" actId="790"/>
          <ac:spMkLst>
            <pc:docMk/>
            <pc:sldMk cId="3241623441" sldId="292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5" actId="790"/>
          <ac:spMkLst>
            <pc:docMk/>
            <pc:sldMk cId="3241623441" sldId="292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57" v="16" actId="790"/>
          <ac:spMkLst>
            <pc:docMk/>
            <pc:sldMk cId="3241623441" sldId="292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60" v="20" actId="790"/>
        <pc:sldMkLst>
          <pc:docMk/>
          <pc:sldMk cId="692283471" sldId="293"/>
        </pc:sldMkLst>
        <pc:spChg chg="mod">
          <ac:chgData name="Michele Rocco" userId="b98ebe7a-7641-4b10-bb82-27245654a50a" providerId="ADAL" clId="{05A8CA33-8AB0-4B87-A00A-3A9C909B6976}" dt="2024-01-23T16:57:00.557" v="17" actId="790"/>
          <ac:spMkLst>
            <pc:docMk/>
            <pc:sldMk cId="692283471" sldId="293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57" v="18" actId="790"/>
          <ac:spMkLst>
            <pc:docMk/>
            <pc:sldMk cId="692283471" sldId="293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57" v="19" actId="790"/>
          <ac:spMkLst>
            <pc:docMk/>
            <pc:sldMk cId="692283471" sldId="293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60" v="20" actId="790"/>
          <ac:spMkLst>
            <pc:docMk/>
            <pc:sldMk cId="692283471" sldId="293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87" v="25" actId="790"/>
        <pc:sldMkLst>
          <pc:docMk/>
          <pc:sldMk cId="2858633819" sldId="294"/>
        </pc:sldMkLst>
        <pc:spChg chg="mod">
          <ac:chgData name="Michele Rocco" userId="b98ebe7a-7641-4b10-bb82-27245654a50a" providerId="ADAL" clId="{05A8CA33-8AB0-4B87-A00A-3A9C909B6976}" dt="2024-01-23T16:57:00.586" v="23" actId="790"/>
          <ac:spMkLst>
            <pc:docMk/>
            <pc:sldMk cId="2858633819" sldId="294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7" v="24" actId="790"/>
          <ac:spMkLst>
            <pc:docMk/>
            <pc:sldMk cId="2858633819" sldId="294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7" v="25" actId="790"/>
          <ac:spMkLst>
            <pc:docMk/>
            <pc:sldMk cId="2858633819" sldId="294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74" v="21" actId="790"/>
          <ac:spMkLst>
            <pc:docMk/>
            <pc:sldMk cId="2858633819" sldId="294"/>
            <ac:spMk id="5" creationId="{07C10B25-52DB-6AE0-3DBC-9A996236C2B2}"/>
          </ac:spMkLst>
        </pc:spChg>
        <pc:spChg chg="mod">
          <ac:chgData name="Michele Rocco" userId="b98ebe7a-7641-4b10-bb82-27245654a50a" providerId="ADAL" clId="{05A8CA33-8AB0-4B87-A00A-3A9C909B6976}" dt="2024-01-23T16:57:00.586" v="22" actId="790"/>
          <ac:spMkLst>
            <pc:docMk/>
            <pc:sldMk cId="2858633819" sldId="294"/>
            <ac:spMk id="7" creationId="{4CD401C1-C9E4-A15B-4244-04B575C6890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29" actId="790"/>
        <pc:sldMkLst>
          <pc:docMk/>
          <pc:sldMk cId="3804523030" sldId="295"/>
        </pc:sldMkLst>
        <pc:spChg chg="mod">
          <ac:chgData name="Michele Rocco" userId="b98ebe7a-7641-4b10-bb82-27245654a50a" providerId="ADAL" clId="{05A8CA33-8AB0-4B87-A00A-3A9C909B6976}" dt="2024-01-23T16:57:00.588" v="26" actId="790"/>
          <ac:spMkLst>
            <pc:docMk/>
            <pc:sldMk cId="3804523030" sldId="295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88" v="27" actId="790"/>
          <ac:spMkLst>
            <pc:docMk/>
            <pc:sldMk cId="3804523030" sldId="295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89" v="28" actId="790"/>
          <ac:spMkLst>
            <pc:docMk/>
            <pc:sldMk cId="3804523030" sldId="295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29" actId="790"/>
          <ac:spMkLst>
            <pc:docMk/>
            <pc:sldMk cId="3804523030" sldId="295"/>
            <ac:spMk id="9" creationId="{384C8E91-B72A-D715-878D-3115E7D21AE9}"/>
          </ac:spMkLst>
        </pc:spChg>
      </pc:sldChg>
      <pc:sldChg chg="modSp mod">
        <pc:chgData name="Michele Rocco" userId="b98ebe7a-7641-4b10-bb82-27245654a50a" providerId="ADAL" clId="{05A8CA33-8AB0-4B87-A00A-3A9C909B6976}" dt="2024-01-23T16:57:00.590" v="34" actId="790"/>
        <pc:sldMkLst>
          <pc:docMk/>
          <pc:sldMk cId="1570471128" sldId="296"/>
        </pc:sldMkLst>
        <pc:spChg chg="mod">
          <ac:chgData name="Michele Rocco" userId="b98ebe7a-7641-4b10-bb82-27245654a50a" providerId="ADAL" clId="{05A8CA33-8AB0-4B87-A00A-3A9C909B6976}" dt="2024-01-23T16:57:00.590" v="30" actId="790"/>
          <ac:spMkLst>
            <pc:docMk/>
            <pc:sldMk cId="1570471128" sldId="296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0" v="31" actId="790"/>
          <ac:spMkLst>
            <pc:docMk/>
            <pc:sldMk cId="1570471128" sldId="296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0" v="32" actId="790"/>
          <ac:spMkLst>
            <pc:docMk/>
            <pc:sldMk cId="1570471128" sldId="296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0" v="33" actId="790"/>
          <ac:spMkLst>
            <pc:docMk/>
            <pc:sldMk cId="1570471128" sldId="296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0" v="34" actId="790"/>
          <ac:spMkLst>
            <pc:docMk/>
            <pc:sldMk cId="1570471128" sldId="296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8" v="39" actId="790"/>
        <pc:sldMkLst>
          <pc:docMk/>
          <pc:sldMk cId="1604505303" sldId="297"/>
        </pc:sldMkLst>
        <pc:spChg chg="mod">
          <ac:chgData name="Michele Rocco" userId="b98ebe7a-7641-4b10-bb82-27245654a50a" providerId="ADAL" clId="{05A8CA33-8AB0-4B87-A00A-3A9C909B6976}" dt="2024-01-23T16:57:00.595" v="35" actId="790"/>
          <ac:spMkLst>
            <pc:docMk/>
            <pc:sldMk cId="1604505303" sldId="297"/>
            <ac:spMk id="2" creationId="{51BBF078-C8A6-B19B-5A86-1388E178168E}"/>
          </ac:spMkLst>
        </pc:spChg>
        <pc:spChg chg="mod">
          <ac:chgData name="Michele Rocco" userId="b98ebe7a-7641-4b10-bb82-27245654a50a" providerId="ADAL" clId="{05A8CA33-8AB0-4B87-A00A-3A9C909B6976}" dt="2024-01-23T16:57:00.595" v="36" actId="790"/>
          <ac:spMkLst>
            <pc:docMk/>
            <pc:sldMk cId="1604505303" sldId="297"/>
            <ac:spMk id="3" creationId="{C04D15B5-7960-56F9-327A-2187E8DB5B91}"/>
          </ac:spMkLst>
        </pc:spChg>
        <pc:spChg chg="mod">
          <ac:chgData name="Michele Rocco" userId="b98ebe7a-7641-4b10-bb82-27245654a50a" providerId="ADAL" clId="{05A8CA33-8AB0-4B87-A00A-3A9C909B6976}" dt="2024-01-23T16:57:00.596" v="37" actId="790"/>
          <ac:spMkLst>
            <pc:docMk/>
            <pc:sldMk cId="1604505303" sldId="297"/>
            <ac:spMk id="4" creationId="{AA22CF49-01A6-8083-3BF5-A087AFE4980A}"/>
          </ac:spMkLst>
        </pc:spChg>
        <pc:spChg chg="mod">
          <ac:chgData name="Michele Rocco" userId="b98ebe7a-7641-4b10-bb82-27245654a50a" providerId="ADAL" clId="{05A8CA33-8AB0-4B87-A00A-3A9C909B6976}" dt="2024-01-23T16:57:00.596" v="38" actId="790"/>
          <ac:spMkLst>
            <pc:docMk/>
            <pc:sldMk cId="1604505303" sldId="297"/>
            <ac:spMk id="9" creationId="{384C8E91-B72A-D715-878D-3115E7D21AE9}"/>
          </ac:spMkLst>
        </pc:spChg>
        <pc:spChg chg="mod">
          <ac:chgData name="Michele Rocco" userId="b98ebe7a-7641-4b10-bb82-27245654a50a" providerId="ADAL" clId="{05A8CA33-8AB0-4B87-A00A-3A9C909B6976}" dt="2024-01-23T16:57:00.598" v="39" actId="790"/>
          <ac:spMkLst>
            <pc:docMk/>
            <pc:sldMk cId="1604505303" sldId="297"/>
            <ac:spMk id="12" creationId="{1790EBD9-6684-4CE0-92FE-08B9BBF9FF90}"/>
          </ac:spMkLst>
        </pc:spChg>
      </pc:sldChg>
      <pc:sldChg chg="modSp mod">
        <pc:chgData name="Michele Rocco" userId="b98ebe7a-7641-4b10-bb82-27245654a50a" providerId="ADAL" clId="{05A8CA33-8AB0-4B87-A00A-3A9C909B6976}" dt="2024-01-23T16:57:00.599" v="42" actId="790"/>
        <pc:sldMkLst>
          <pc:docMk/>
          <pc:sldMk cId="3397797632" sldId="299"/>
        </pc:sldMkLst>
        <pc:spChg chg="mod">
          <ac:chgData name="Michele Rocco" userId="b98ebe7a-7641-4b10-bb82-27245654a50a" providerId="ADAL" clId="{05A8CA33-8AB0-4B87-A00A-3A9C909B6976}" dt="2024-01-23T16:57:00.599" v="40" actId="790"/>
          <ac:spMkLst>
            <pc:docMk/>
            <pc:sldMk cId="3397797632" sldId="299"/>
            <ac:spMk id="2" creationId="{A32276C4-73BB-0578-40AB-D7DE7AEE228F}"/>
          </ac:spMkLst>
        </pc:spChg>
        <pc:spChg chg="mod">
          <ac:chgData name="Michele Rocco" userId="b98ebe7a-7641-4b10-bb82-27245654a50a" providerId="ADAL" clId="{05A8CA33-8AB0-4B87-A00A-3A9C909B6976}" dt="2024-01-23T16:57:00.599" v="41" actId="790"/>
          <ac:spMkLst>
            <pc:docMk/>
            <pc:sldMk cId="3397797632" sldId="299"/>
            <ac:spMk id="3" creationId="{7C00DDAA-51A6-1AB4-6244-29186F2B3724}"/>
          </ac:spMkLst>
        </pc:spChg>
        <pc:spChg chg="mod">
          <ac:chgData name="Michele Rocco" userId="b98ebe7a-7641-4b10-bb82-27245654a50a" providerId="ADAL" clId="{05A8CA33-8AB0-4B87-A00A-3A9C909B6976}" dt="2024-01-23T16:57:00.599" v="42" actId="790"/>
          <ac:spMkLst>
            <pc:docMk/>
            <pc:sldMk cId="3397797632" sldId="299"/>
            <ac:spMk id="4" creationId="{65E8087E-1FF9-E2B3-88C0-31867B258FD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47" actId="790"/>
        <pc:sldMkLst>
          <pc:docMk/>
          <pc:sldMk cId="1255775440" sldId="300"/>
        </pc:sldMkLst>
        <pc:spChg chg="mod">
          <ac:chgData name="Michele Rocco" userId="b98ebe7a-7641-4b10-bb82-27245654a50a" providerId="ADAL" clId="{05A8CA33-8AB0-4B87-A00A-3A9C909B6976}" dt="2024-01-23T16:57:00.603" v="45" actId="790"/>
          <ac:spMkLst>
            <pc:docMk/>
            <pc:sldMk cId="1255775440" sldId="300"/>
            <ac:spMk id="2" creationId="{0FED1ECC-B37A-AFAC-AAE5-7973C510847E}"/>
          </ac:spMkLst>
        </pc:spChg>
        <pc:spChg chg="mod">
          <ac:chgData name="Michele Rocco" userId="b98ebe7a-7641-4b10-bb82-27245654a50a" providerId="ADAL" clId="{05A8CA33-8AB0-4B87-A00A-3A9C909B6976}" dt="2024-01-23T16:57:00.603" v="46" actId="790"/>
          <ac:spMkLst>
            <pc:docMk/>
            <pc:sldMk cId="1255775440" sldId="300"/>
            <ac:spMk id="3" creationId="{59CD7390-6C7C-51DE-C14F-CB3D62B0949A}"/>
          </ac:spMkLst>
        </pc:spChg>
        <pc:spChg chg="mod">
          <ac:chgData name="Michele Rocco" userId="b98ebe7a-7641-4b10-bb82-27245654a50a" providerId="ADAL" clId="{05A8CA33-8AB0-4B87-A00A-3A9C909B6976}" dt="2024-01-23T16:57:00.603" v="47" actId="790"/>
          <ac:spMkLst>
            <pc:docMk/>
            <pc:sldMk cId="1255775440" sldId="300"/>
            <ac:spMk id="4" creationId="{95026A83-6ECD-373A-CA40-BB0B21504E70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0" actId="790"/>
        <pc:sldMkLst>
          <pc:docMk/>
          <pc:sldMk cId="1968516981" sldId="301"/>
        </pc:sldMkLst>
        <pc:spChg chg="mod">
          <ac:chgData name="Michele Rocco" userId="b98ebe7a-7641-4b10-bb82-27245654a50a" providerId="ADAL" clId="{05A8CA33-8AB0-4B87-A00A-3A9C909B6976}" dt="2024-01-23T16:57:00.603" v="48" actId="790"/>
          <ac:spMkLst>
            <pc:docMk/>
            <pc:sldMk cId="1968516981" sldId="301"/>
            <ac:spMk id="2" creationId="{E070C1E7-82FC-C308-48AA-BB576309C94E}"/>
          </ac:spMkLst>
        </pc:spChg>
        <pc:spChg chg="mod">
          <ac:chgData name="Michele Rocco" userId="b98ebe7a-7641-4b10-bb82-27245654a50a" providerId="ADAL" clId="{05A8CA33-8AB0-4B87-A00A-3A9C909B6976}" dt="2024-01-23T16:57:00.603" v="49" actId="790"/>
          <ac:spMkLst>
            <pc:docMk/>
            <pc:sldMk cId="1968516981" sldId="301"/>
            <ac:spMk id="3" creationId="{96F58EB3-146D-01AB-FF1C-F63564B5F8B6}"/>
          </ac:spMkLst>
        </pc:spChg>
        <pc:spChg chg="mod">
          <ac:chgData name="Michele Rocco" userId="b98ebe7a-7641-4b10-bb82-27245654a50a" providerId="ADAL" clId="{05A8CA33-8AB0-4B87-A00A-3A9C909B6976}" dt="2024-01-23T16:57:00.603" v="50" actId="790"/>
          <ac:spMkLst>
            <pc:docMk/>
            <pc:sldMk cId="1968516981" sldId="301"/>
            <ac:spMk id="4" creationId="{3BC48301-FCC8-1160-E86A-02C6E0DDC8CE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3" actId="790"/>
        <pc:sldMkLst>
          <pc:docMk/>
          <pc:sldMk cId="3837282433" sldId="302"/>
        </pc:sldMkLst>
        <pc:spChg chg="mod">
          <ac:chgData name="Michele Rocco" userId="b98ebe7a-7641-4b10-bb82-27245654a50a" providerId="ADAL" clId="{05A8CA33-8AB0-4B87-A00A-3A9C909B6976}" dt="2024-01-23T16:57:00.603" v="51" actId="790"/>
          <ac:spMkLst>
            <pc:docMk/>
            <pc:sldMk cId="3837282433" sldId="302"/>
            <ac:spMk id="2" creationId="{D7C9BEB4-AE92-C198-5C9B-5A770711D3C8}"/>
          </ac:spMkLst>
        </pc:spChg>
        <pc:spChg chg="mod">
          <ac:chgData name="Michele Rocco" userId="b98ebe7a-7641-4b10-bb82-27245654a50a" providerId="ADAL" clId="{05A8CA33-8AB0-4B87-A00A-3A9C909B6976}" dt="2024-01-23T16:57:00.603" v="52" actId="790"/>
          <ac:spMkLst>
            <pc:docMk/>
            <pc:sldMk cId="3837282433" sldId="302"/>
            <ac:spMk id="3" creationId="{E4BAF6DD-077F-1F17-AE2F-BC1ED46FE221}"/>
          </ac:spMkLst>
        </pc:spChg>
        <pc:spChg chg="mod">
          <ac:chgData name="Michele Rocco" userId="b98ebe7a-7641-4b10-bb82-27245654a50a" providerId="ADAL" clId="{05A8CA33-8AB0-4B87-A00A-3A9C909B6976}" dt="2024-01-23T16:57:00.603" v="53" actId="790"/>
          <ac:spMkLst>
            <pc:docMk/>
            <pc:sldMk cId="3837282433" sldId="302"/>
            <ac:spMk id="4" creationId="{A27AF004-9DDA-E731-1311-119056E32959}"/>
          </ac:spMkLst>
        </pc:spChg>
      </pc:sldChg>
      <pc:sldChg chg="modSp mod">
        <pc:chgData name="Michele Rocco" userId="b98ebe7a-7641-4b10-bb82-27245654a50a" providerId="ADAL" clId="{05A8CA33-8AB0-4B87-A00A-3A9C909B6976}" dt="2024-01-23T16:57:00.603" v="56" actId="790"/>
        <pc:sldMkLst>
          <pc:docMk/>
          <pc:sldMk cId="786950877" sldId="303"/>
        </pc:sldMkLst>
        <pc:spChg chg="mod">
          <ac:chgData name="Michele Rocco" userId="b98ebe7a-7641-4b10-bb82-27245654a50a" providerId="ADAL" clId="{05A8CA33-8AB0-4B87-A00A-3A9C909B6976}" dt="2024-01-23T16:57:00.603" v="54" actId="790"/>
          <ac:spMkLst>
            <pc:docMk/>
            <pc:sldMk cId="786950877" sldId="303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3" v="55" actId="790"/>
          <ac:spMkLst>
            <pc:docMk/>
            <pc:sldMk cId="786950877" sldId="303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03" v="56" actId="790"/>
          <ac:spMkLst>
            <pc:docMk/>
            <pc:sldMk cId="786950877" sldId="303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0" v="59" actId="790"/>
        <pc:sldMkLst>
          <pc:docMk/>
          <pc:sldMk cId="4147670638" sldId="304"/>
        </pc:sldMkLst>
        <pc:spChg chg="mod">
          <ac:chgData name="Michele Rocco" userId="b98ebe7a-7641-4b10-bb82-27245654a50a" providerId="ADAL" clId="{05A8CA33-8AB0-4B87-A00A-3A9C909B6976}" dt="2024-01-23T16:57:00.609" v="57" actId="790"/>
          <ac:spMkLst>
            <pc:docMk/>
            <pc:sldMk cId="4147670638" sldId="304"/>
            <ac:spMk id="2" creationId="{06675B17-37D5-6F32-A9A2-60EF4BB95C5E}"/>
          </ac:spMkLst>
        </pc:spChg>
        <pc:spChg chg="mod">
          <ac:chgData name="Michele Rocco" userId="b98ebe7a-7641-4b10-bb82-27245654a50a" providerId="ADAL" clId="{05A8CA33-8AB0-4B87-A00A-3A9C909B6976}" dt="2024-01-23T16:57:00.609" v="58" actId="790"/>
          <ac:spMkLst>
            <pc:docMk/>
            <pc:sldMk cId="4147670638" sldId="304"/>
            <ac:spMk id="3" creationId="{6A2F1E92-CEE5-452B-8FEA-0E8D600FBAD2}"/>
          </ac:spMkLst>
        </pc:spChg>
        <pc:spChg chg="mod">
          <ac:chgData name="Michele Rocco" userId="b98ebe7a-7641-4b10-bb82-27245654a50a" providerId="ADAL" clId="{05A8CA33-8AB0-4B87-A00A-3A9C909B6976}" dt="2024-01-23T16:57:00.610" v="59" actId="790"/>
          <ac:spMkLst>
            <pc:docMk/>
            <pc:sldMk cId="4147670638" sldId="304"/>
            <ac:spMk id="4" creationId="{36367C1D-8298-D320-195B-70872E12BB11}"/>
          </ac:spMkLst>
        </pc:spChg>
      </pc:sldChg>
      <pc:sldChg chg="modSp mod">
        <pc:chgData name="Michele Rocco" userId="b98ebe7a-7641-4b10-bb82-27245654a50a" providerId="ADAL" clId="{05A8CA33-8AB0-4B87-A00A-3A9C909B6976}" dt="2024-01-23T16:57:00.613" v="65" actId="790"/>
        <pc:sldMkLst>
          <pc:docMk/>
          <pc:sldMk cId="2129748764" sldId="305"/>
        </pc:sldMkLst>
        <pc:spChg chg="mod">
          <ac:chgData name="Michele Rocco" userId="b98ebe7a-7641-4b10-bb82-27245654a50a" providerId="ADAL" clId="{05A8CA33-8AB0-4B87-A00A-3A9C909B6976}" dt="2024-01-23T16:57:00.612" v="63" actId="790"/>
          <ac:spMkLst>
            <pc:docMk/>
            <pc:sldMk cId="2129748764" sldId="305"/>
            <ac:spMk id="2" creationId="{22E6288F-4C58-0357-7270-DAE1CDAF3F92}"/>
          </ac:spMkLst>
        </pc:spChg>
        <pc:spChg chg="mod">
          <ac:chgData name="Michele Rocco" userId="b98ebe7a-7641-4b10-bb82-27245654a50a" providerId="ADAL" clId="{05A8CA33-8AB0-4B87-A00A-3A9C909B6976}" dt="2024-01-23T16:57:00.612" v="64" actId="790"/>
          <ac:spMkLst>
            <pc:docMk/>
            <pc:sldMk cId="2129748764" sldId="305"/>
            <ac:spMk id="3" creationId="{C5638F8E-5ECF-9D3B-E0E5-480CC9BC06CA}"/>
          </ac:spMkLst>
        </pc:spChg>
        <pc:spChg chg="mod">
          <ac:chgData name="Michele Rocco" userId="b98ebe7a-7641-4b10-bb82-27245654a50a" providerId="ADAL" clId="{05A8CA33-8AB0-4B87-A00A-3A9C909B6976}" dt="2024-01-23T16:57:00.613" v="65" actId="790"/>
          <ac:spMkLst>
            <pc:docMk/>
            <pc:sldMk cId="2129748764" sldId="305"/>
            <ac:spMk id="4" creationId="{3FF314E5-6D0B-17D7-4CF5-70C0600F522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8:29:55.727" v="6551"/>
        <pc:sldMkLst>
          <pc:docMk/>
          <pc:sldMk cId="4004401706" sldId="306"/>
        </pc:sldMkLst>
        <pc:spChg chg="mod">
          <ac:chgData name="Michele Rocco" userId="b98ebe7a-7641-4b10-bb82-27245654a50a" providerId="ADAL" clId="{05A8CA33-8AB0-4B87-A00A-3A9C909B6976}" dt="2024-01-23T16:57:00.610" v="60" actId="790"/>
          <ac:spMkLst>
            <pc:docMk/>
            <pc:sldMk cId="4004401706" sldId="306"/>
            <ac:spMk id="2" creationId="{8AECB9C5-20A5-EC47-5C23-A7A35D341FDE}"/>
          </ac:spMkLst>
        </pc:spChg>
        <pc:spChg chg="mod">
          <ac:chgData name="Michele Rocco" userId="b98ebe7a-7641-4b10-bb82-27245654a50a" providerId="ADAL" clId="{05A8CA33-8AB0-4B87-A00A-3A9C909B6976}" dt="2024-01-23T16:57:00.610" v="61" actId="790"/>
          <ac:spMkLst>
            <pc:docMk/>
            <pc:sldMk cId="4004401706" sldId="306"/>
            <ac:spMk id="3" creationId="{C73A0543-0387-1DBD-1B9D-DFA7997D5889}"/>
          </ac:spMkLst>
        </pc:spChg>
        <pc:spChg chg="mod">
          <ac:chgData name="Michele Rocco" userId="b98ebe7a-7641-4b10-bb82-27245654a50a" providerId="ADAL" clId="{05A8CA33-8AB0-4B87-A00A-3A9C909B6976}" dt="2024-01-23T16:57:00.610" v="62" actId="790"/>
          <ac:spMkLst>
            <pc:docMk/>
            <pc:sldMk cId="4004401706" sldId="306"/>
            <ac:spMk id="4" creationId="{8A573DBD-3E92-A1A0-924C-54729A3B660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8:29:55.727" v="6551"/>
              <pc2:cmMkLst xmlns:pc2="http://schemas.microsoft.com/office/powerpoint/2019/9/main/command">
                <pc:docMk/>
                <pc:sldMk cId="4004401706" sldId="306"/>
                <pc2:cmMk id="{7EF4B918-92B8-4117-8635-D4BBFF2EC088}"/>
              </pc2:cmMkLst>
              <pc226:cmRplyChg chg="add">
                <pc226:chgData name="Michele Rocco" userId="b98ebe7a-7641-4b10-bb82-27245654a50a" providerId="ADAL" clId="{05A8CA33-8AB0-4B87-A00A-3A9C909B6976}" dt="2024-01-23T17:04:43.498" v="258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A7CA33C8-1948-40FA-BC09-AD1BBAAC6C0F}"/>
                </pc2:cmRplyMkLst>
              </pc226:cmRplyChg>
              <pc226:cmRplyChg chg="add">
                <pc226:chgData name="Michele Rocco" userId="b98ebe7a-7641-4b10-bb82-27245654a50a" providerId="ADAL" clId="{05A8CA33-8AB0-4B87-A00A-3A9C909B6976}" dt="2024-01-24T08:29:55.727" v="6551"/>
                <pc2:cmRplyMkLst xmlns:pc2="http://schemas.microsoft.com/office/powerpoint/2019/9/main/command">
                  <pc:docMk/>
                  <pc:sldMk cId="4004401706" sldId="306"/>
                  <pc2:cmMk id="{7EF4B918-92B8-4117-8635-D4BBFF2EC088}"/>
                  <pc2:cmRplyMk id="{B0347FCF-5FB8-4072-919F-E80E1E135219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17" v="70" actId="790"/>
        <pc:sldMkLst>
          <pc:docMk/>
          <pc:sldMk cId="3230328343" sldId="307"/>
        </pc:sldMkLst>
        <pc:spChg chg="mod">
          <ac:chgData name="Michele Rocco" userId="b98ebe7a-7641-4b10-bb82-27245654a50a" providerId="ADAL" clId="{05A8CA33-8AB0-4B87-A00A-3A9C909B6976}" dt="2024-01-23T16:57:00.616" v="68" actId="790"/>
          <ac:spMkLst>
            <pc:docMk/>
            <pc:sldMk cId="3230328343" sldId="307"/>
            <ac:spMk id="2" creationId="{05CF7369-2F65-253A-B1C2-BBEA8D8E5792}"/>
          </ac:spMkLst>
        </pc:spChg>
        <pc:spChg chg="mod">
          <ac:chgData name="Michele Rocco" userId="b98ebe7a-7641-4b10-bb82-27245654a50a" providerId="ADAL" clId="{05A8CA33-8AB0-4B87-A00A-3A9C909B6976}" dt="2024-01-23T16:57:00.617" v="69" actId="790"/>
          <ac:spMkLst>
            <pc:docMk/>
            <pc:sldMk cId="3230328343" sldId="307"/>
            <ac:spMk id="3" creationId="{62A678F7-2D06-8404-53AC-3B41A2B26D45}"/>
          </ac:spMkLst>
        </pc:spChg>
        <pc:spChg chg="mod">
          <ac:chgData name="Michele Rocco" userId="b98ebe7a-7641-4b10-bb82-27245654a50a" providerId="ADAL" clId="{05A8CA33-8AB0-4B87-A00A-3A9C909B6976}" dt="2024-01-23T16:57:00.617" v="70" actId="790"/>
          <ac:spMkLst>
            <pc:docMk/>
            <pc:sldMk cId="3230328343" sldId="307"/>
            <ac:spMk id="4" creationId="{91D9F759-CD61-E01A-B875-CBAD1A8ADAAD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18:58.105" v="1467"/>
        <pc:sldMkLst>
          <pc:docMk/>
          <pc:sldMk cId="3362905413" sldId="308"/>
        </pc:sldMkLst>
        <pc:spChg chg="mod">
          <ac:chgData name="Michele Rocco" userId="b98ebe7a-7641-4b10-bb82-27245654a50a" providerId="ADAL" clId="{05A8CA33-8AB0-4B87-A00A-3A9C909B6976}" dt="2024-01-23T16:57:00.617" v="71" actId="790"/>
          <ac:spMkLst>
            <pc:docMk/>
            <pc:sldMk cId="3362905413" sldId="308"/>
            <ac:spMk id="2" creationId="{EB4E5E96-B469-C391-2030-16DB28D7BF63}"/>
          </ac:spMkLst>
        </pc:spChg>
        <pc:spChg chg="mod">
          <ac:chgData name="Michele Rocco" userId="b98ebe7a-7641-4b10-bb82-27245654a50a" providerId="ADAL" clId="{05A8CA33-8AB0-4B87-A00A-3A9C909B6976}" dt="2024-01-23T16:57:00.617" v="72" actId="790"/>
          <ac:spMkLst>
            <pc:docMk/>
            <pc:sldMk cId="3362905413" sldId="308"/>
            <ac:spMk id="3" creationId="{912D1EE9-BEB5-DFA6-4279-4F76BD605B88}"/>
          </ac:spMkLst>
        </pc:spChg>
        <pc:spChg chg="mod">
          <ac:chgData name="Michele Rocco" userId="b98ebe7a-7641-4b10-bb82-27245654a50a" providerId="ADAL" clId="{05A8CA33-8AB0-4B87-A00A-3A9C909B6976}" dt="2024-01-23T16:57:00.617" v="73" actId="790"/>
          <ac:spMkLst>
            <pc:docMk/>
            <pc:sldMk cId="3362905413" sldId="308"/>
            <ac:spMk id="4" creationId="{8C89F5F8-4282-9880-248A-14AEB634FCF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ichele Rocco" userId="b98ebe7a-7641-4b10-bb82-27245654a50a" providerId="ADAL" clId="{05A8CA33-8AB0-4B87-A00A-3A9C909B6976}" dt="2024-01-24T07:18:58.105" v="1467"/>
              <pc2:cmMkLst xmlns:pc2="http://schemas.microsoft.com/office/powerpoint/2019/9/main/command">
                <pc:docMk/>
                <pc:sldMk cId="3362905413" sldId="308"/>
                <pc2:cmMk id="{05023031-9D81-451E-869F-824F81EDCEE4}"/>
              </pc2:cmMkLst>
              <pc226:cmRplyChg chg="add">
                <pc226:chgData name="Michele Rocco" userId="b98ebe7a-7641-4b10-bb82-27245654a50a" providerId="ADAL" clId="{05A8CA33-8AB0-4B87-A00A-3A9C909B6976}" dt="2024-01-23T17:38:06.772" v="1169"/>
                <pc2:cmRplyMkLst xmlns:pc2="http://schemas.microsoft.com/office/powerpoint/2019/9/main/command">
                  <pc:docMk/>
                  <pc:sldMk cId="3362905413" sldId="308"/>
                  <pc2:cmMk id="{05023031-9D81-451E-869F-824F81EDCEE4}"/>
                  <pc2:cmRplyMk id="{EDFB8902-DF1C-446C-85EA-69621D5B42CB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22" v="85" actId="790"/>
        <pc:sldMkLst>
          <pc:docMk/>
          <pc:sldMk cId="1862611760" sldId="309"/>
        </pc:sldMkLst>
        <pc:spChg chg="mod">
          <ac:chgData name="Michele Rocco" userId="b98ebe7a-7641-4b10-bb82-27245654a50a" providerId="ADAL" clId="{05A8CA33-8AB0-4B87-A00A-3A9C909B6976}" dt="2024-01-23T16:57:00.622" v="83" actId="790"/>
          <ac:spMkLst>
            <pc:docMk/>
            <pc:sldMk cId="1862611760" sldId="309"/>
            <ac:spMk id="2" creationId="{F25E1798-44B9-E9A7-1C0B-8AB32CAA377B}"/>
          </ac:spMkLst>
        </pc:spChg>
        <pc:spChg chg="mod">
          <ac:chgData name="Michele Rocco" userId="b98ebe7a-7641-4b10-bb82-27245654a50a" providerId="ADAL" clId="{05A8CA33-8AB0-4B87-A00A-3A9C909B6976}" dt="2024-01-23T16:57:00.622" v="84" actId="790"/>
          <ac:spMkLst>
            <pc:docMk/>
            <pc:sldMk cId="1862611760" sldId="309"/>
            <ac:spMk id="3" creationId="{41E4BC4F-2D78-6B02-1168-9ABECD71B7ED}"/>
          </ac:spMkLst>
        </pc:spChg>
        <pc:spChg chg="mod">
          <ac:chgData name="Michele Rocco" userId="b98ebe7a-7641-4b10-bb82-27245654a50a" providerId="ADAL" clId="{05A8CA33-8AB0-4B87-A00A-3A9C909B6976}" dt="2024-01-23T16:57:00.622" v="85" actId="790"/>
          <ac:spMkLst>
            <pc:docMk/>
            <pc:sldMk cId="1862611760" sldId="309"/>
            <ac:spMk id="4" creationId="{A0ABF48E-89A5-B0C5-C33A-A5BD66C98035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82" actId="790"/>
        <pc:sldMkLst>
          <pc:docMk/>
          <pc:sldMk cId="3056404990" sldId="310"/>
        </pc:sldMkLst>
        <pc:spChg chg="mod">
          <ac:chgData name="Michele Rocco" userId="b98ebe7a-7641-4b10-bb82-27245654a50a" providerId="ADAL" clId="{05A8CA33-8AB0-4B87-A00A-3A9C909B6976}" dt="2024-01-23T16:57:00.622" v="80" actId="790"/>
          <ac:spMkLst>
            <pc:docMk/>
            <pc:sldMk cId="3056404990" sldId="310"/>
            <ac:spMk id="2" creationId="{662082BB-C9A7-C989-B91F-7342A9ACB82B}"/>
          </ac:spMkLst>
        </pc:spChg>
        <pc:spChg chg="mod">
          <ac:chgData name="Michele Rocco" userId="b98ebe7a-7641-4b10-bb82-27245654a50a" providerId="ADAL" clId="{05A8CA33-8AB0-4B87-A00A-3A9C909B6976}" dt="2024-01-23T16:57:00.622" v="81" actId="790"/>
          <ac:spMkLst>
            <pc:docMk/>
            <pc:sldMk cId="3056404990" sldId="310"/>
            <ac:spMk id="3" creationId="{A589CF3D-513F-869B-6271-13BB65B71BF6}"/>
          </ac:spMkLst>
        </pc:spChg>
        <pc:spChg chg="mod">
          <ac:chgData name="Michele Rocco" userId="b98ebe7a-7641-4b10-bb82-27245654a50a" providerId="ADAL" clId="{05A8CA33-8AB0-4B87-A00A-3A9C909B6976}" dt="2024-01-23T16:57:00.622" v="82" actId="790"/>
          <ac:spMkLst>
            <pc:docMk/>
            <pc:sldMk cId="3056404990" sldId="310"/>
            <ac:spMk id="4" creationId="{BA5243C9-C2BB-8BFE-121B-3E2B4508514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2" v="79" actId="790"/>
        <pc:sldMkLst>
          <pc:docMk/>
          <pc:sldMk cId="3396422946" sldId="311"/>
        </pc:sldMkLst>
        <pc:spChg chg="mod">
          <ac:chgData name="Michele Rocco" userId="b98ebe7a-7641-4b10-bb82-27245654a50a" providerId="ADAL" clId="{05A8CA33-8AB0-4B87-A00A-3A9C909B6976}" dt="2024-01-23T16:57:00.621" v="77" actId="790"/>
          <ac:spMkLst>
            <pc:docMk/>
            <pc:sldMk cId="3396422946" sldId="311"/>
            <ac:spMk id="2" creationId="{9A16C503-7AFD-C031-469E-EA35F5B3BDC7}"/>
          </ac:spMkLst>
        </pc:spChg>
        <pc:spChg chg="mod">
          <ac:chgData name="Michele Rocco" userId="b98ebe7a-7641-4b10-bb82-27245654a50a" providerId="ADAL" clId="{05A8CA33-8AB0-4B87-A00A-3A9C909B6976}" dt="2024-01-23T16:57:00.622" v="78" actId="790"/>
          <ac:spMkLst>
            <pc:docMk/>
            <pc:sldMk cId="3396422946" sldId="311"/>
            <ac:spMk id="3" creationId="{38B364D7-B999-D5A7-FC11-06050688C221}"/>
          </ac:spMkLst>
        </pc:spChg>
        <pc:spChg chg="mod">
          <ac:chgData name="Michele Rocco" userId="b98ebe7a-7641-4b10-bb82-27245654a50a" providerId="ADAL" clId="{05A8CA33-8AB0-4B87-A00A-3A9C909B6976}" dt="2024-01-23T16:57:00.622" v="79" actId="790"/>
          <ac:spMkLst>
            <pc:docMk/>
            <pc:sldMk cId="3396422946" sldId="311"/>
            <ac:spMk id="4" creationId="{F2C3791A-C8B0-C572-FB69-7B6B47469EC0}"/>
          </ac:spMkLst>
        </pc:spChg>
      </pc:sldChg>
      <pc:sldChg chg="modSp mod">
        <pc:chgData name="Michele Rocco" userId="b98ebe7a-7641-4b10-bb82-27245654a50a" providerId="ADAL" clId="{05A8CA33-8AB0-4B87-A00A-3A9C909B6976}" dt="2024-01-23T16:57:00.621" v="76" actId="790"/>
        <pc:sldMkLst>
          <pc:docMk/>
          <pc:sldMk cId="1829445697" sldId="312"/>
        </pc:sldMkLst>
        <pc:spChg chg="mod">
          <ac:chgData name="Michele Rocco" userId="b98ebe7a-7641-4b10-bb82-27245654a50a" providerId="ADAL" clId="{05A8CA33-8AB0-4B87-A00A-3A9C909B6976}" dt="2024-01-23T16:57:00.617" v="74" actId="790"/>
          <ac:spMkLst>
            <pc:docMk/>
            <pc:sldMk cId="1829445697" sldId="312"/>
            <ac:spMk id="2" creationId="{793736D8-6786-EB55-F087-EB850260E505}"/>
          </ac:spMkLst>
        </pc:spChg>
        <pc:spChg chg="mod">
          <ac:chgData name="Michele Rocco" userId="b98ebe7a-7641-4b10-bb82-27245654a50a" providerId="ADAL" clId="{05A8CA33-8AB0-4B87-A00A-3A9C909B6976}" dt="2024-01-23T16:57:00.617" v="75" actId="790"/>
          <ac:spMkLst>
            <pc:docMk/>
            <pc:sldMk cId="1829445697" sldId="312"/>
            <ac:spMk id="3" creationId="{5BF72A4A-6191-E999-9A0B-CB512B2A3546}"/>
          </ac:spMkLst>
        </pc:spChg>
        <pc:spChg chg="mod">
          <ac:chgData name="Michele Rocco" userId="b98ebe7a-7641-4b10-bb82-27245654a50a" providerId="ADAL" clId="{05A8CA33-8AB0-4B87-A00A-3A9C909B6976}" dt="2024-01-23T16:57:00.621" v="76" actId="790"/>
          <ac:spMkLst>
            <pc:docMk/>
            <pc:sldMk cId="1829445697" sldId="312"/>
            <ac:spMk id="4" creationId="{592032DC-2BC4-4330-0DFD-6AC6C47EE90B}"/>
          </ac:spMkLst>
        </pc:spChg>
      </pc:sldChg>
      <pc:sldChg chg="modSp mod">
        <pc:chgData name="Michele Rocco" userId="b98ebe7a-7641-4b10-bb82-27245654a50a" providerId="ADAL" clId="{05A8CA33-8AB0-4B87-A00A-3A9C909B6976}" dt="2024-01-23T16:57:00.636" v="89" actId="790"/>
        <pc:sldMkLst>
          <pc:docMk/>
          <pc:sldMk cId="4109715435" sldId="313"/>
        </pc:sldMkLst>
        <pc:spChg chg="mod">
          <ac:chgData name="Michele Rocco" userId="b98ebe7a-7641-4b10-bb82-27245654a50a" providerId="ADAL" clId="{05A8CA33-8AB0-4B87-A00A-3A9C909B6976}" dt="2024-01-23T16:57:00.636" v="87" actId="790"/>
          <ac:spMkLst>
            <pc:docMk/>
            <pc:sldMk cId="4109715435" sldId="313"/>
            <ac:spMk id="2" creationId="{2764E89C-42F0-7F7D-800A-DA392F66BC91}"/>
          </ac:spMkLst>
        </pc:spChg>
        <pc:spChg chg="mod">
          <ac:chgData name="Michele Rocco" userId="b98ebe7a-7641-4b10-bb82-27245654a50a" providerId="ADAL" clId="{05A8CA33-8AB0-4B87-A00A-3A9C909B6976}" dt="2024-01-23T16:57:00.636" v="88" actId="790"/>
          <ac:spMkLst>
            <pc:docMk/>
            <pc:sldMk cId="4109715435" sldId="313"/>
            <ac:spMk id="3" creationId="{937AAAB0-FB21-FB0E-A628-9C20C23B6347}"/>
          </ac:spMkLst>
        </pc:spChg>
        <pc:spChg chg="mod">
          <ac:chgData name="Michele Rocco" userId="b98ebe7a-7641-4b10-bb82-27245654a50a" providerId="ADAL" clId="{05A8CA33-8AB0-4B87-A00A-3A9C909B6976}" dt="2024-01-23T16:57:00.636" v="89" actId="790"/>
          <ac:spMkLst>
            <pc:docMk/>
            <pc:sldMk cId="4109715435" sldId="313"/>
            <ac:spMk id="4" creationId="{AAB1B8BC-4F92-6038-D555-1AD1EDEF431A}"/>
          </ac:spMkLst>
        </pc:spChg>
        <pc:spChg chg="mod">
          <ac:chgData name="Michele Rocco" userId="b98ebe7a-7641-4b10-bb82-27245654a50a" providerId="ADAL" clId="{05A8CA33-8AB0-4B87-A00A-3A9C909B6976}" dt="2024-01-23T16:57:00.633" v="86" actId="790"/>
          <ac:spMkLst>
            <pc:docMk/>
            <pc:sldMk cId="4109715435" sldId="313"/>
            <ac:spMk id="7" creationId="{8ED043E4-ED32-1DA9-33FC-E4B34D009A79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4" actId="790"/>
        <pc:sldMkLst>
          <pc:docMk/>
          <pc:sldMk cId="2059814184" sldId="314"/>
        </pc:sldMkLst>
        <pc:spChg chg="mod">
          <ac:chgData name="Michele Rocco" userId="b98ebe7a-7641-4b10-bb82-27245654a50a" providerId="ADAL" clId="{05A8CA33-8AB0-4B87-A00A-3A9C909B6976}" dt="2024-01-23T16:57:00.638" v="92" actId="790"/>
          <ac:spMkLst>
            <pc:docMk/>
            <pc:sldMk cId="2059814184" sldId="314"/>
            <ac:spMk id="2" creationId="{509CB6E0-7C4E-FA68-855F-FA3F11EF009A}"/>
          </ac:spMkLst>
        </pc:spChg>
        <pc:spChg chg="mod">
          <ac:chgData name="Michele Rocco" userId="b98ebe7a-7641-4b10-bb82-27245654a50a" providerId="ADAL" clId="{05A8CA33-8AB0-4B87-A00A-3A9C909B6976}" dt="2024-01-23T16:57:00.638" v="93" actId="790"/>
          <ac:spMkLst>
            <pc:docMk/>
            <pc:sldMk cId="2059814184" sldId="314"/>
            <ac:spMk id="3" creationId="{D964BEB2-F5CE-C6AE-DBE5-E711CFD480FC}"/>
          </ac:spMkLst>
        </pc:spChg>
        <pc:spChg chg="mod">
          <ac:chgData name="Michele Rocco" userId="b98ebe7a-7641-4b10-bb82-27245654a50a" providerId="ADAL" clId="{05A8CA33-8AB0-4B87-A00A-3A9C909B6976}" dt="2024-01-23T16:57:00.638" v="94" actId="790"/>
          <ac:spMkLst>
            <pc:docMk/>
            <pc:sldMk cId="2059814184" sldId="314"/>
            <ac:spMk id="4" creationId="{17D8D4C6-CC93-6C62-3C2C-3433A59A01CD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7" actId="790"/>
        <pc:sldMkLst>
          <pc:docMk/>
          <pc:sldMk cId="3439177903" sldId="315"/>
        </pc:sldMkLst>
        <pc:spChg chg="mod">
          <ac:chgData name="Michele Rocco" userId="b98ebe7a-7641-4b10-bb82-27245654a50a" providerId="ADAL" clId="{05A8CA33-8AB0-4B87-A00A-3A9C909B6976}" dt="2024-01-23T16:57:00.638" v="95" actId="790"/>
          <ac:spMkLst>
            <pc:docMk/>
            <pc:sldMk cId="3439177903" sldId="315"/>
            <ac:spMk id="2" creationId="{269EADC7-9785-5346-94A3-EAE0A512B506}"/>
          </ac:spMkLst>
        </pc:spChg>
        <pc:spChg chg="mod">
          <ac:chgData name="Michele Rocco" userId="b98ebe7a-7641-4b10-bb82-27245654a50a" providerId="ADAL" clId="{05A8CA33-8AB0-4B87-A00A-3A9C909B6976}" dt="2024-01-23T16:57:00.638" v="96" actId="790"/>
          <ac:spMkLst>
            <pc:docMk/>
            <pc:sldMk cId="3439177903" sldId="315"/>
            <ac:spMk id="3" creationId="{3AEB9BE1-DBDC-6865-0261-87E9C390861F}"/>
          </ac:spMkLst>
        </pc:spChg>
        <pc:spChg chg="mod">
          <ac:chgData name="Michele Rocco" userId="b98ebe7a-7641-4b10-bb82-27245654a50a" providerId="ADAL" clId="{05A8CA33-8AB0-4B87-A00A-3A9C909B6976}" dt="2024-01-23T16:57:00.638" v="97" actId="790"/>
          <ac:spMkLst>
            <pc:docMk/>
            <pc:sldMk cId="3439177903" sldId="315"/>
            <ac:spMk id="4" creationId="{1546110C-2787-52D9-DB63-2779EE687B81}"/>
          </ac:spMkLst>
        </pc:spChg>
      </pc:sldChg>
      <pc:sldChg chg="modSp mod addCm modCm">
        <pc:chgData name="Michele Rocco" userId="b98ebe7a-7641-4b10-bb82-27245654a50a" providerId="ADAL" clId="{05A8CA33-8AB0-4B87-A00A-3A9C909B6976}" dt="2024-01-24T07:54:00.496" v="2525"/>
        <pc:sldMkLst>
          <pc:docMk/>
          <pc:sldMk cId="2060001824" sldId="316"/>
        </pc:sldMkLst>
        <pc:spChg chg="mod">
          <ac:chgData name="Michele Rocco" userId="b98ebe7a-7641-4b10-bb82-27245654a50a" providerId="ADAL" clId="{05A8CA33-8AB0-4B87-A00A-3A9C909B6976}" dt="2024-01-23T16:57:00.644" v="101" actId="790"/>
          <ac:spMkLst>
            <pc:docMk/>
            <pc:sldMk cId="2060001824" sldId="316"/>
            <ac:spMk id="2" creationId="{A756B1FB-9540-2596-7D4B-27C539B10990}"/>
          </ac:spMkLst>
        </pc:spChg>
        <pc:spChg chg="mod">
          <ac:chgData name="Michele Rocco" userId="b98ebe7a-7641-4b10-bb82-27245654a50a" providerId="ADAL" clId="{05A8CA33-8AB0-4B87-A00A-3A9C909B6976}" dt="2024-01-23T16:57:00.645" v="102" actId="790"/>
          <ac:spMkLst>
            <pc:docMk/>
            <pc:sldMk cId="2060001824" sldId="316"/>
            <ac:spMk id="3" creationId="{0B31949C-26FB-610D-FC88-40F235BE7DDC}"/>
          </ac:spMkLst>
        </pc:spChg>
        <pc:spChg chg="mod">
          <ac:chgData name="Michele Rocco" userId="b98ebe7a-7641-4b10-bb82-27245654a50a" providerId="ADAL" clId="{05A8CA33-8AB0-4B87-A00A-3A9C909B6976}" dt="2024-01-23T16:57:00.645" v="103" actId="790"/>
          <ac:spMkLst>
            <pc:docMk/>
            <pc:sldMk cId="2060001824" sldId="316"/>
            <ac:spMk id="4" creationId="{BF1C61F8-8264-373D-FCEE-183CFD9A72C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3:41.544" v="2524"/>
              <pc2:cmMkLst xmlns:pc2="http://schemas.microsoft.com/office/powerpoint/2019/9/main/command">
                <pc:docMk/>
                <pc:sldMk cId="2060001824" sldId="316"/>
                <pc2:cmMk id="{EB56E472-2FD7-44A6-B634-1CE338E37EBE}"/>
              </pc2:cmMkLst>
              <pc226:cmRplyChg chg="mod modRxn">
                <pc226:chgData name="Michele Rocco" userId="b98ebe7a-7641-4b10-bb82-27245654a50a" providerId="ADAL" clId="{05A8CA33-8AB0-4B87-A00A-3A9C909B6976}" dt="2024-01-24T07:53:41.544" v="2524"/>
                <pc2:cmRplyMkLst xmlns:pc2="http://schemas.microsoft.com/office/powerpoint/2019/9/main/command">
                  <pc:docMk/>
                  <pc:sldMk cId="2060001824" sldId="316"/>
                  <pc2:cmMk id="{EB56E472-2FD7-44A6-B634-1CE338E37EBE}"/>
                  <pc2:cmRplyMk id="{B3DF4DA5-65E8-47E6-B3B9-64FE597D93C3}"/>
                </pc2:cmRplyMkLst>
              </pc226:cmRplyChg>
            </pc226:cmChg>
            <pc226:cmChg xmlns:pc226="http://schemas.microsoft.com/office/powerpoint/2022/06/main/command" chg="add">
              <pc226:chgData name="Michele Rocco" userId="b98ebe7a-7641-4b10-bb82-27245654a50a" providerId="ADAL" clId="{05A8CA33-8AB0-4B87-A00A-3A9C909B6976}" dt="2024-01-24T07:54:00.496" v="2525"/>
              <pc2:cmMkLst xmlns:pc2="http://schemas.microsoft.com/office/powerpoint/2019/9/main/command">
                <pc:docMk/>
                <pc:sldMk cId="2060001824" sldId="316"/>
                <pc2:cmMk id="{64EC8879-8C64-4200-BB54-2E6B6F14DD03}"/>
              </pc2:cmMkLst>
              <pc226:cmRplyChg chg="add">
                <pc226:chgData name="Michele Rocco" userId="b98ebe7a-7641-4b10-bb82-27245654a50a" providerId="ADAL" clId="{05A8CA33-8AB0-4B87-A00A-3A9C909B6976}" dt="2024-01-24T07:54:00.496" v="2525"/>
                <pc2:cmRplyMkLst xmlns:pc2="http://schemas.microsoft.com/office/powerpoint/2019/9/main/command">
                  <pc:docMk/>
                  <pc:sldMk cId="2060001824" sldId="316"/>
                  <pc2:cmMk id="{64EC8879-8C64-4200-BB54-2E6B6F14DD03}"/>
                  <pc2:cmRplyMk id="{AC5DC7CB-F637-4211-8C04-86999DA498DC}"/>
                </pc2:cmRplyMkLst>
              </pc226:cmRplyChg>
            </pc226:cmChg>
          </p:ext>
        </pc:extLst>
      </pc:sldChg>
      <pc:sldChg chg="modSp mod">
        <pc:chgData name="Michele Rocco" userId="b98ebe7a-7641-4b10-bb82-27245654a50a" providerId="ADAL" clId="{05A8CA33-8AB0-4B87-A00A-3A9C909B6976}" dt="2024-01-23T16:57:00.644" v="100" actId="790"/>
        <pc:sldMkLst>
          <pc:docMk/>
          <pc:sldMk cId="4110969131" sldId="317"/>
        </pc:sldMkLst>
        <pc:spChg chg="mod">
          <ac:chgData name="Michele Rocco" userId="b98ebe7a-7641-4b10-bb82-27245654a50a" providerId="ADAL" clId="{05A8CA33-8AB0-4B87-A00A-3A9C909B6976}" dt="2024-01-23T16:57:00.638" v="98" actId="790"/>
          <ac:spMkLst>
            <pc:docMk/>
            <pc:sldMk cId="4110969131" sldId="317"/>
            <ac:spMk id="2" creationId="{A22F9CB1-AC90-8475-C8E1-97FF6580DE7E}"/>
          </ac:spMkLst>
        </pc:spChg>
        <pc:spChg chg="mod">
          <ac:chgData name="Michele Rocco" userId="b98ebe7a-7641-4b10-bb82-27245654a50a" providerId="ADAL" clId="{05A8CA33-8AB0-4B87-A00A-3A9C909B6976}" dt="2024-01-23T16:57:00.643" v="99" actId="790"/>
          <ac:spMkLst>
            <pc:docMk/>
            <pc:sldMk cId="4110969131" sldId="317"/>
            <ac:spMk id="3" creationId="{F0A23098-E944-A3E4-7C24-632EC5E982C2}"/>
          </ac:spMkLst>
        </pc:spChg>
        <pc:spChg chg="mod">
          <ac:chgData name="Michele Rocco" userId="b98ebe7a-7641-4b10-bb82-27245654a50a" providerId="ADAL" clId="{05A8CA33-8AB0-4B87-A00A-3A9C909B6976}" dt="2024-01-23T16:57:00.644" v="100" actId="790"/>
          <ac:spMkLst>
            <pc:docMk/>
            <pc:sldMk cId="4110969131" sldId="317"/>
            <ac:spMk id="4" creationId="{6DE4AFBB-8FDE-CF49-07E7-F13614DF9C6D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6" actId="790"/>
        <pc:sldMkLst>
          <pc:docMk/>
          <pc:sldMk cId="2600840893" sldId="319"/>
        </pc:sldMkLst>
        <pc:spChg chg="mod">
          <ac:chgData name="Michele Rocco" userId="b98ebe7a-7641-4b10-bb82-27245654a50a" providerId="ADAL" clId="{05A8CA33-8AB0-4B87-A00A-3A9C909B6976}" dt="2024-01-23T16:57:00.645" v="104" actId="790"/>
          <ac:spMkLst>
            <pc:docMk/>
            <pc:sldMk cId="2600840893" sldId="319"/>
            <ac:spMk id="2" creationId="{16DB9D3C-9CCE-D1F9-3064-F64D8ABE9A78}"/>
          </ac:spMkLst>
        </pc:spChg>
        <pc:spChg chg="mod">
          <ac:chgData name="Michele Rocco" userId="b98ebe7a-7641-4b10-bb82-27245654a50a" providerId="ADAL" clId="{05A8CA33-8AB0-4B87-A00A-3A9C909B6976}" dt="2024-01-23T16:57:00.645" v="105" actId="790"/>
          <ac:spMkLst>
            <pc:docMk/>
            <pc:sldMk cId="2600840893" sldId="319"/>
            <ac:spMk id="3" creationId="{1F19057B-0A97-2CB9-1B18-70019322D3DC}"/>
          </ac:spMkLst>
        </pc:spChg>
        <pc:spChg chg="mod">
          <ac:chgData name="Michele Rocco" userId="b98ebe7a-7641-4b10-bb82-27245654a50a" providerId="ADAL" clId="{05A8CA33-8AB0-4B87-A00A-3A9C909B6976}" dt="2024-01-23T16:57:00.645" v="106" actId="790"/>
          <ac:spMkLst>
            <pc:docMk/>
            <pc:sldMk cId="2600840893" sldId="319"/>
            <ac:spMk id="4" creationId="{12EB4926-D290-EE97-B8B6-FA305D64E60A}"/>
          </ac:spMkLst>
        </pc:spChg>
      </pc:sldChg>
      <pc:sldChg chg="modSp mod">
        <pc:chgData name="Michele Rocco" userId="b98ebe7a-7641-4b10-bb82-27245654a50a" providerId="ADAL" clId="{05A8CA33-8AB0-4B87-A00A-3A9C909B6976}" dt="2024-01-23T16:57:00.645" v="109" actId="790"/>
        <pc:sldMkLst>
          <pc:docMk/>
          <pc:sldMk cId="2371849535" sldId="320"/>
        </pc:sldMkLst>
        <pc:spChg chg="mod">
          <ac:chgData name="Michele Rocco" userId="b98ebe7a-7641-4b10-bb82-27245654a50a" providerId="ADAL" clId="{05A8CA33-8AB0-4B87-A00A-3A9C909B6976}" dt="2024-01-23T16:57:00.645" v="107" actId="790"/>
          <ac:spMkLst>
            <pc:docMk/>
            <pc:sldMk cId="2371849535" sldId="320"/>
            <ac:spMk id="2" creationId="{5E0C03EA-E9A5-1D99-BB3A-CD23664A6BC5}"/>
          </ac:spMkLst>
        </pc:spChg>
        <pc:spChg chg="mod">
          <ac:chgData name="Michele Rocco" userId="b98ebe7a-7641-4b10-bb82-27245654a50a" providerId="ADAL" clId="{05A8CA33-8AB0-4B87-A00A-3A9C909B6976}" dt="2024-01-23T16:57:00.645" v="108" actId="790"/>
          <ac:spMkLst>
            <pc:docMk/>
            <pc:sldMk cId="2371849535" sldId="320"/>
            <ac:spMk id="3" creationId="{661B814A-9DC5-69DB-B931-CB393FE31292}"/>
          </ac:spMkLst>
        </pc:spChg>
        <pc:spChg chg="mod">
          <ac:chgData name="Michele Rocco" userId="b98ebe7a-7641-4b10-bb82-27245654a50a" providerId="ADAL" clId="{05A8CA33-8AB0-4B87-A00A-3A9C909B6976}" dt="2024-01-23T16:57:00.645" v="109" actId="790"/>
          <ac:spMkLst>
            <pc:docMk/>
            <pc:sldMk cId="2371849535" sldId="320"/>
            <ac:spMk id="4" creationId="{ADF60A34-F67C-9E2C-7FA5-7CE36C44813D}"/>
          </ac:spMkLst>
        </pc:spChg>
      </pc:sldChg>
      <pc:sldChg chg="modSp mod">
        <pc:chgData name="Michele Rocco" userId="b98ebe7a-7641-4b10-bb82-27245654a50a" providerId="ADAL" clId="{05A8CA33-8AB0-4B87-A00A-3A9C909B6976}" dt="2024-01-23T16:57:00.547" v="8" actId="790"/>
        <pc:sldMkLst>
          <pc:docMk/>
          <pc:sldMk cId="532413471" sldId="321"/>
        </pc:sldMkLst>
        <pc:spChg chg="mod">
          <ac:chgData name="Michele Rocco" userId="b98ebe7a-7641-4b10-bb82-27245654a50a" providerId="ADAL" clId="{05A8CA33-8AB0-4B87-A00A-3A9C909B6976}" dt="2024-01-23T16:57:00.547" v="8" actId="790"/>
          <ac:spMkLst>
            <pc:docMk/>
            <pc:sldMk cId="532413471" sldId="321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547" v="7" actId="790"/>
          <ac:spMkLst>
            <pc:docMk/>
            <pc:sldMk cId="532413471" sldId="321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02" v="44" actId="790"/>
        <pc:sldMkLst>
          <pc:docMk/>
          <pc:sldMk cId="902660526" sldId="322"/>
        </pc:sldMkLst>
        <pc:spChg chg="mod">
          <ac:chgData name="Michele Rocco" userId="b98ebe7a-7641-4b10-bb82-27245654a50a" providerId="ADAL" clId="{05A8CA33-8AB0-4B87-A00A-3A9C909B6976}" dt="2024-01-23T16:57:00.602" v="44" actId="790"/>
          <ac:spMkLst>
            <pc:docMk/>
            <pc:sldMk cId="902660526" sldId="322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02" v="43" actId="790"/>
          <ac:spMkLst>
            <pc:docMk/>
            <pc:sldMk cId="902660526" sldId="322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16" v="67" actId="790"/>
        <pc:sldMkLst>
          <pc:docMk/>
          <pc:sldMk cId="3702300545" sldId="323"/>
        </pc:sldMkLst>
        <pc:spChg chg="mod">
          <ac:chgData name="Michele Rocco" userId="b98ebe7a-7641-4b10-bb82-27245654a50a" providerId="ADAL" clId="{05A8CA33-8AB0-4B87-A00A-3A9C909B6976}" dt="2024-01-23T16:57:00.616" v="67" actId="790"/>
          <ac:spMkLst>
            <pc:docMk/>
            <pc:sldMk cId="3702300545" sldId="323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13" v="66" actId="790"/>
          <ac:spMkLst>
            <pc:docMk/>
            <pc:sldMk cId="3702300545" sldId="323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38" v="91" actId="790"/>
        <pc:sldMkLst>
          <pc:docMk/>
          <pc:sldMk cId="2885120835" sldId="324"/>
        </pc:sldMkLst>
        <pc:spChg chg="mod">
          <ac:chgData name="Michele Rocco" userId="b98ebe7a-7641-4b10-bb82-27245654a50a" providerId="ADAL" clId="{05A8CA33-8AB0-4B87-A00A-3A9C909B6976}" dt="2024-01-23T16:57:00.638" v="91" actId="790"/>
          <ac:spMkLst>
            <pc:docMk/>
            <pc:sldMk cId="2885120835" sldId="324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38" v="90" actId="790"/>
          <ac:spMkLst>
            <pc:docMk/>
            <pc:sldMk cId="2885120835" sldId="324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2" v="111" actId="790"/>
        <pc:sldMkLst>
          <pc:docMk/>
          <pc:sldMk cId="2835239964" sldId="325"/>
        </pc:sldMkLst>
        <pc:spChg chg="mod">
          <ac:chgData name="Michele Rocco" userId="b98ebe7a-7641-4b10-bb82-27245654a50a" providerId="ADAL" clId="{05A8CA33-8AB0-4B87-A00A-3A9C909B6976}" dt="2024-01-23T16:57:00.652" v="111" actId="790"/>
          <ac:spMkLst>
            <pc:docMk/>
            <pc:sldMk cId="2835239964" sldId="325"/>
            <ac:spMk id="3" creationId="{90D17616-C6F6-5E72-B3B8-B8737DA3DB23}"/>
          </ac:spMkLst>
        </pc:spChg>
        <pc:spChg chg="mod">
          <ac:chgData name="Michele Rocco" userId="b98ebe7a-7641-4b10-bb82-27245654a50a" providerId="ADAL" clId="{05A8CA33-8AB0-4B87-A00A-3A9C909B6976}" dt="2024-01-23T16:57:00.645" v="110" actId="790"/>
          <ac:spMkLst>
            <pc:docMk/>
            <pc:sldMk cId="2835239964" sldId="325"/>
            <ac:spMk id="4" creationId="{1AC29BDC-7CB8-266E-07CF-D9D5D9169AC3}"/>
          </ac:spMkLst>
        </pc:spChg>
      </pc:sldChg>
      <pc:sldChg chg="modSp mod">
        <pc:chgData name="Michele Rocco" userId="b98ebe7a-7641-4b10-bb82-27245654a50a" providerId="ADAL" clId="{05A8CA33-8AB0-4B87-A00A-3A9C909B6976}" dt="2024-01-23T16:57:00.654" v="115" actId="790"/>
        <pc:sldMkLst>
          <pc:docMk/>
          <pc:sldMk cId="1343076952" sldId="326"/>
        </pc:sldMkLst>
        <pc:spChg chg="mod">
          <ac:chgData name="Michele Rocco" userId="b98ebe7a-7641-4b10-bb82-27245654a50a" providerId="ADAL" clId="{05A8CA33-8AB0-4B87-A00A-3A9C909B6976}" dt="2024-01-23T16:57:00.652" v="112" actId="790"/>
          <ac:spMkLst>
            <pc:docMk/>
            <pc:sldMk cId="1343076952" sldId="326"/>
            <ac:spMk id="2" creationId="{145C7072-5EF5-6DF5-5FAB-D140D0531EC4}"/>
          </ac:spMkLst>
        </pc:spChg>
        <pc:spChg chg="mod">
          <ac:chgData name="Michele Rocco" userId="b98ebe7a-7641-4b10-bb82-27245654a50a" providerId="ADAL" clId="{05A8CA33-8AB0-4B87-A00A-3A9C909B6976}" dt="2024-01-23T16:57:00.653" v="113" actId="790"/>
          <ac:spMkLst>
            <pc:docMk/>
            <pc:sldMk cId="1343076952" sldId="326"/>
            <ac:spMk id="3" creationId="{29BDDA70-D7E3-C17F-663E-2B5F6669930B}"/>
          </ac:spMkLst>
        </pc:spChg>
        <pc:spChg chg="mod">
          <ac:chgData name="Michele Rocco" userId="b98ebe7a-7641-4b10-bb82-27245654a50a" providerId="ADAL" clId="{05A8CA33-8AB0-4B87-A00A-3A9C909B6976}" dt="2024-01-23T16:57:00.653" v="114" actId="790"/>
          <ac:spMkLst>
            <pc:docMk/>
            <pc:sldMk cId="1343076952" sldId="326"/>
            <ac:spMk id="4" creationId="{35FF5FA8-2F2B-E553-D5D8-7A3D9D161BC3}"/>
          </ac:spMkLst>
        </pc:spChg>
        <pc:spChg chg="mod">
          <ac:chgData name="Michele Rocco" userId="b98ebe7a-7641-4b10-bb82-27245654a50a" providerId="ADAL" clId="{05A8CA33-8AB0-4B87-A00A-3A9C909B6976}" dt="2024-01-23T16:57:00.654" v="115" actId="790"/>
          <ac:spMkLst>
            <pc:docMk/>
            <pc:sldMk cId="1343076952" sldId="326"/>
            <ac:spMk id="5" creationId="{19622A6B-51E6-AC35-010A-AF1AAB6B1767}"/>
          </ac:spMkLst>
        </pc:spChg>
      </pc:sldChg>
      <pc:sldChg chg="addSp delSp modSp new mod modClrScheme chgLayout modNotesTx">
        <pc:chgData name="Michele Rocco" userId="b98ebe7a-7641-4b10-bb82-27245654a50a" providerId="ADAL" clId="{05A8CA33-8AB0-4B87-A00A-3A9C909B6976}" dt="2024-01-24T08:06:29.990" v="3547" actId="20577"/>
        <pc:sldMkLst>
          <pc:docMk/>
          <pc:sldMk cId="1867967926" sldId="327"/>
        </pc:sldMkLst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2" creationId="{34E35DDA-B160-2AC2-54A4-CBDB319C8517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3" creationId="{C6545697-8F02-7502-B5CD-86ED2AEC9286}"/>
          </ac:spMkLst>
        </pc:spChg>
        <pc:spChg chg="mod ord">
          <ac:chgData name="Michele Rocco" userId="b98ebe7a-7641-4b10-bb82-27245654a50a" providerId="ADAL" clId="{05A8CA33-8AB0-4B87-A00A-3A9C909B6976}" dt="2024-01-23T16:59:15.821" v="185" actId="700"/>
          <ac:spMkLst>
            <pc:docMk/>
            <pc:sldMk cId="1867967926" sldId="327"/>
            <ac:spMk id="4" creationId="{851A479E-D944-5C30-75C5-C9D68F2EAD92}"/>
          </ac:spMkLst>
        </pc:spChg>
        <pc:spChg chg="add mod ord">
          <ac:chgData name="Michele Rocco" userId="b98ebe7a-7641-4b10-bb82-27245654a50a" providerId="ADAL" clId="{05A8CA33-8AB0-4B87-A00A-3A9C909B6976}" dt="2024-01-24T07:58:18.564" v="2586" actId="20577"/>
          <ac:spMkLst>
            <pc:docMk/>
            <pc:sldMk cId="1867967926" sldId="327"/>
            <ac:spMk id="5" creationId="{9EF8758A-CB2F-D621-8BFB-56049135185C}"/>
          </ac:spMkLst>
        </pc:spChg>
        <pc:spChg chg="add del mod">
          <ac:chgData name="Michele Rocco" userId="b98ebe7a-7641-4b10-bb82-27245654a50a" providerId="ADAL" clId="{05A8CA33-8AB0-4B87-A00A-3A9C909B6976}" dt="2024-01-23T18:41:44.195" v="1215" actId="478"/>
          <ac:spMkLst>
            <pc:docMk/>
            <pc:sldMk cId="1867967926" sldId="327"/>
            <ac:spMk id="10" creationId="{FA2218D0-B8A8-360C-F950-3272B884EB27}"/>
          </ac:spMkLst>
        </pc:spChg>
        <pc:spChg chg="add mod">
          <ac:chgData name="Michele Rocco" userId="b98ebe7a-7641-4b10-bb82-27245654a50a" providerId="ADAL" clId="{05A8CA33-8AB0-4B87-A00A-3A9C909B6976}" dt="2024-01-23T18:54:39.219" v="1332" actId="1076"/>
          <ac:spMkLst>
            <pc:docMk/>
            <pc:sldMk cId="1867967926" sldId="327"/>
            <ac:spMk id="13" creationId="{8E61545D-F03B-2A2C-74E9-34C76939388F}"/>
          </ac:spMkLst>
        </pc:spChg>
        <pc:picChg chg="add mod">
          <ac:chgData name="Michele Rocco" userId="b98ebe7a-7641-4b10-bb82-27245654a50a" providerId="ADAL" clId="{05A8CA33-8AB0-4B87-A00A-3A9C909B6976}" dt="2024-01-23T17:01:57.207" v="242" actId="931"/>
          <ac:picMkLst>
            <pc:docMk/>
            <pc:sldMk cId="1867967926" sldId="327"/>
            <ac:picMk id="7" creationId="{1BED42F4-EBAD-5CA6-8B4D-7DD9991E7EC8}"/>
          </ac:picMkLst>
        </pc:picChg>
        <pc:picChg chg="add mod">
          <ac:chgData name="Michele Rocco" userId="b98ebe7a-7641-4b10-bb82-27245654a50a" providerId="ADAL" clId="{05A8CA33-8AB0-4B87-A00A-3A9C909B6976}" dt="2024-01-23T18:54:27.663" v="1331" actId="1076"/>
          <ac:picMkLst>
            <pc:docMk/>
            <pc:sldMk cId="1867967926" sldId="327"/>
            <ac:picMk id="9" creationId="{B8DD1FF0-2E1D-12DD-ED4E-CDD114CF53CD}"/>
          </ac:picMkLst>
        </pc:picChg>
        <pc:picChg chg="add mod">
          <ac:chgData name="Michele Rocco" userId="b98ebe7a-7641-4b10-bb82-27245654a50a" providerId="ADAL" clId="{05A8CA33-8AB0-4B87-A00A-3A9C909B6976}" dt="2024-01-23T18:49:14.596" v="1263" actId="1076"/>
          <ac:picMkLst>
            <pc:docMk/>
            <pc:sldMk cId="1867967926" sldId="327"/>
            <ac:picMk id="12" creationId="{6ECB3B52-097E-E43B-2F81-F8AD4B73B403}"/>
          </ac:picMkLst>
        </pc:picChg>
      </pc:sldChg>
      <pc:sldChg chg="addSp delSp modSp new mod modNotesTx">
        <pc:chgData name="Michele Rocco" userId="b98ebe7a-7641-4b10-bb82-27245654a50a" providerId="ADAL" clId="{05A8CA33-8AB0-4B87-A00A-3A9C909B6976}" dt="2024-01-24T08:28:32.718" v="6550" actId="20577"/>
        <pc:sldMkLst>
          <pc:docMk/>
          <pc:sldMk cId="938758504" sldId="328"/>
        </pc:sldMkLst>
        <pc:spChg chg="mod">
          <ac:chgData name="Michele Rocco" userId="b98ebe7a-7641-4b10-bb82-27245654a50a" providerId="ADAL" clId="{05A8CA33-8AB0-4B87-A00A-3A9C909B6976}" dt="2024-01-23T17:20:24.967" v="875" actId="20577"/>
          <ac:spMkLst>
            <pc:docMk/>
            <pc:sldMk cId="938758504" sldId="328"/>
            <ac:spMk id="2" creationId="{47950766-BA22-3A95-CBEF-5A83B30DC979}"/>
          </ac:spMkLst>
        </pc:spChg>
        <pc:spChg chg="mod">
          <ac:chgData name="Michele Rocco" userId="b98ebe7a-7641-4b10-bb82-27245654a50a" providerId="ADAL" clId="{05A8CA33-8AB0-4B87-A00A-3A9C909B6976}" dt="2024-01-23T17:08:01.974" v="396" actId="20577"/>
          <ac:spMkLst>
            <pc:docMk/>
            <pc:sldMk cId="938758504" sldId="328"/>
            <ac:spMk id="3" creationId="{F0C5D8A6-3440-2145-C1F5-DB3C438433BD}"/>
          </ac:spMkLst>
        </pc:spChg>
        <pc:spChg chg="add del mod">
          <ac:chgData name="Michele Rocco" userId="b98ebe7a-7641-4b10-bb82-27245654a50a" providerId="ADAL" clId="{05A8CA33-8AB0-4B87-A00A-3A9C909B6976}" dt="2024-01-23T17:32:29.104" v="1069" actId="478"/>
          <ac:spMkLst>
            <pc:docMk/>
            <pc:sldMk cId="938758504" sldId="328"/>
            <ac:spMk id="8" creationId="{F7140CBA-40F9-FEDC-015C-FE2D21C5611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9" creationId="{3C96DC06-5653-10FC-3517-47D6BC3FA8E7}"/>
          </ac:spMkLst>
        </pc:spChg>
        <pc:spChg chg="add mod">
          <ac:chgData name="Michele Rocco" userId="b98ebe7a-7641-4b10-bb82-27245654a50a" providerId="ADAL" clId="{05A8CA33-8AB0-4B87-A00A-3A9C909B6976}" dt="2024-01-23T17:36:42.593" v="1116" actId="2085"/>
          <ac:spMkLst>
            <pc:docMk/>
            <pc:sldMk cId="938758504" sldId="328"/>
            <ac:spMk id="15" creationId="{D4F6A066-CAA6-ABD4-26F8-74C3442183B7}"/>
          </ac:spMkLst>
        </pc:spChg>
        <pc:spChg chg="add del mod">
          <ac:chgData name="Michele Rocco" userId="b98ebe7a-7641-4b10-bb82-27245654a50a" providerId="ADAL" clId="{05A8CA33-8AB0-4B87-A00A-3A9C909B6976}" dt="2024-01-23T17:35:34.403" v="1106" actId="478"/>
          <ac:spMkLst>
            <pc:docMk/>
            <pc:sldMk cId="938758504" sldId="328"/>
            <ac:spMk id="34" creationId="{61C40655-00EF-35B7-F541-F0E8169AD99D}"/>
          </ac:spMkLst>
        </pc:spChg>
        <pc:spChg chg="add mod">
          <ac:chgData name="Michele Rocco" userId="b98ebe7a-7641-4b10-bb82-27245654a50a" providerId="ADAL" clId="{05A8CA33-8AB0-4B87-A00A-3A9C909B6976}" dt="2024-01-23T17:37:10.091" v="1134" actId="1076"/>
          <ac:spMkLst>
            <pc:docMk/>
            <pc:sldMk cId="938758504" sldId="328"/>
            <ac:spMk id="35" creationId="{2ECF63C3-BC97-1D55-3803-1B0E05F5B46D}"/>
          </ac:spMkLst>
        </pc:spChg>
        <pc:spChg chg="add mod">
          <ac:chgData name="Michele Rocco" userId="b98ebe7a-7641-4b10-bb82-27245654a50a" providerId="ADAL" clId="{05A8CA33-8AB0-4B87-A00A-3A9C909B6976}" dt="2024-01-23T17:36:35.203" v="1115" actId="208"/>
          <ac:spMkLst>
            <pc:docMk/>
            <pc:sldMk cId="938758504" sldId="328"/>
            <ac:spMk id="36" creationId="{09533E72-A152-C819-76D9-47ACD68BFC31}"/>
          </ac:spMkLst>
        </pc:spChg>
        <pc:spChg chg="add del mod">
          <ac:chgData name="Michele Rocco" userId="b98ebe7a-7641-4b10-bb82-27245654a50a" providerId="ADAL" clId="{05A8CA33-8AB0-4B87-A00A-3A9C909B6976}" dt="2024-01-23T17:40:00.174" v="1193" actId="478"/>
          <ac:spMkLst>
            <pc:docMk/>
            <pc:sldMk cId="938758504" sldId="328"/>
            <ac:spMk id="37" creationId="{914E3CF3-7C84-41E8-9F66-3996E14D8D50}"/>
          </ac:spMkLst>
        </pc:spChg>
        <pc:spChg chg="add mod">
          <ac:chgData name="Michele Rocco" userId="b98ebe7a-7641-4b10-bb82-27245654a50a" providerId="ADAL" clId="{05A8CA33-8AB0-4B87-A00A-3A9C909B6976}" dt="2024-01-23T17:39:56.522" v="1192" actId="1076"/>
          <ac:spMkLst>
            <pc:docMk/>
            <pc:sldMk cId="938758504" sldId="328"/>
            <ac:spMk id="38" creationId="{475E9FF4-1397-C65B-28D4-60DD1AEFD51A}"/>
          </ac:spMkLst>
        </pc:spChg>
        <pc:spChg chg="add mod">
          <ac:chgData name="Michele Rocco" userId="b98ebe7a-7641-4b10-bb82-27245654a50a" providerId="ADAL" clId="{05A8CA33-8AB0-4B87-A00A-3A9C909B6976}" dt="2024-01-23T17:40:15.501" v="1214" actId="1076"/>
          <ac:spMkLst>
            <pc:docMk/>
            <pc:sldMk cId="938758504" sldId="328"/>
            <ac:spMk id="39" creationId="{3335312D-DD6F-1004-7FCD-39948A7A2251}"/>
          </ac:spMkLst>
        </pc:spChg>
        <pc:picChg chg="add mod">
          <ac:chgData name="Michele Rocco" userId="b98ebe7a-7641-4b10-bb82-27245654a50a" providerId="ADAL" clId="{05A8CA33-8AB0-4B87-A00A-3A9C909B6976}" dt="2024-01-23T17:30:19.257" v="1056" actId="1076"/>
          <ac:picMkLst>
            <pc:docMk/>
            <pc:sldMk cId="938758504" sldId="328"/>
            <ac:picMk id="7" creationId="{C63B432D-1618-47F9-6190-D22562396391}"/>
          </ac:picMkLst>
        </pc:picChg>
        <pc:cxnChg chg="add del mod">
          <ac:chgData name="Michele Rocco" userId="b98ebe7a-7641-4b10-bb82-27245654a50a" providerId="ADAL" clId="{05A8CA33-8AB0-4B87-A00A-3A9C909B6976}" dt="2024-01-23T17:31:38.489" v="1063" actId="478"/>
          <ac:cxnSpMkLst>
            <pc:docMk/>
            <pc:sldMk cId="938758504" sldId="328"/>
            <ac:cxnSpMk id="11" creationId="{59485E3F-D021-019E-E4D8-78B6A0BCF289}"/>
          </ac:cxnSpMkLst>
        </pc:cxnChg>
        <pc:cxnChg chg="add del mod">
          <ac:chgData name="Michele Rocco" userId="b98ebe7a-7641-4b10-bb82-27245654a50a" providerId="ADAL" clId="{05A8CA33-8AB0-4B87-A00A-3A9C909B6976}" dt="2024-01-23T17:36:07.282" v="1111" actId="478"/>
          <ac:cxnSpMkLst>
            <pc:docMk/>
            <pc:sldMk cId="938758504" sldId="328"/>
            <ac:cxnSpMk id="13" creationId="{552B8F3C-B701-2323-709B-E22A76A1B737}"/>
          </ac:cxnSpMkLst>
        </pc:cxnChg>
        <pc:cxnChg chg="add del mod">
          <ac:chgData name="Michele Rocco" userId="b98ebe7a-7641-4b10-bb82-27245654a50a" providerId="ADAL" clId="{05A8CA33-8AB0-4B87-A00A-3A9C909B6976}" dt="2024-01-23T17:35:26.357" v="1104" actId="478"/>
          <ac:cxnSpMkLst>
            <pc:docMk/>
            <pc:sldMk cId="938758504" sldId="328"/>
            <ac:cxnSpMk id="16" creationId="{C81CE0AA-2871-0C98-A9CB-82E72ADF7625}"/>
          </ac:cxnSpMkLst>
        </pc:cxnChg>
      </pc:sldChg>
      <pc:sldChg chg="addSp delSp modSp new mod modNotesTx">
        <pc:chgData name="Michele Rocco" userId="b98ebe7a-7641-4b10-bb82-27245654a50a" providerId="ADAL" clId="{05A8CA33-8AB0-4B87-A00A-3A9C909B6976}" dt="2024-01-24T09:20:27.618" v="10653" actId="20577"/>
        <pc:sldMkLst>
          <pc:docMk/>
          <pc:sldMk cId="2267554649" sldId="329"/>
        </pc:sldMkLst>
        <pc:spChg chg="mod">
          <ac:chgData name="Michele Rocco" userId="b98ebe7a-7641-4b10-bb82-27245654a50a" providerId="ADAL" clId="{05A8CA33-8AB0-4B87-A00A-3A9C909B6976}" dt="2024-01-23T17:20:28.268" v="877" actId="20577"/>
          <ac:spMkLst>
            <pc:docMk/>
            <pc:sldMk cId="2267554649" sldId="329"/>
            <ac:spMk id="2" creationId="{254375E0-7A99-3D11-79B2-1C409CF07FE9}"/>
          </ac:spMkLst>
        </pc:spChg>
        <pc:spChg chg="mod">
          <ac:chgData name="Michele Rocco" userId="b98ebe7a-7641-4b10-bb82-27245654a50a" providerId="ADAL" clId="{05A8CA33-8AB0-4B87-A00A-3A9C909B6976}" dt="2024-01-23T17:14:14.479" v="626" actId="20577"/>
          <ac:spMkLst>
            <pc:docMk/>
            <pc:sldMk cId="2267554649" sldId="329"/>
            <ac:spMk id="3" creationId="{13857E85-04F9-FB6C-53D3-ACDF17313AD7}"/>
          </ac:spMkLst>
        </pc:spChg>
        <pc:spChg chg="add mod">
          <ac:chgData name="Michele Rocco" userId="b98ebe7a-7641-4b10-bb82-27245654a50a" providerId="ADAL" clId="{05A8CA33-8AB0-4B87-A00A-3A9C909B6976}" dt="2024-01-23T19:15:39.984" v="1445" actId="1076"/>
          <ac:spMkLst>
            <pc:docMk/>
            <pc:sldMk cId="2267554649" sldId="329"/>
            <ac:spMk id="27" creationId="{0350584C-1E6A-2752-2520-8B12F4EB8893}"/>
          </ac:spMkLst>
        </pc:s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7" creationId="{B332A108-FEA7-1C5D-3953-DD37146B2373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19" creationId="{31EE52FA-5C03-01AF-A6EE-E90010E108FF}"/>
          </ac:grpSpMkLst>
        </pc:grpChg>
        <pc:grpChg chg="add del mod">
          <ac:chgData name="Michele Rocco" userId="b98ebe7a-7641-4b10-bb82-27245654a50a" providerId="ADAL" clId="{05A8CA33-8AB0-4B87-A00A-3A9C909B6976}" dt="2024-01-23T18:49:25.514" v="1264" actId="478"/>
          <ac:grpSpMkLst>
            <pc:docMk/>
            <pc:sldMk cId="2267554649" sldId="329"/>
            <ac:grpSpMk id="23" creationId="{FB88212F-942F-AD93-1CE9-B766BE1650AE}"/>
          </ac:grpSpMkLst>
        </pc:grpChg>
        <pc:picChg chg="add del mod">
          <ac:chgData name="Michele Rocco" userId="b98ebe7a-7641-4b10-bb82-27245654a50a" providerId="ADAL" clId="{05A8CA33-8AB0-4B87-A00A-3A9C909B6976}" dt="2024-01-23T19:14:57.718" v="1434" actId="478"/>
          <ac:picMkLst>
            <pc:docMk/>
            <pc:sldMk cId="2267554649" sldId="329"/>
            <ac:picMk id="6" creationId="{080C6470-993A-5760-B983-8CBFB223CDB1}"/>
          </ac:picMkLst>
        </pc:picChg>
        <pc:picChg chg="add mod">
          <ac:chgData name="Michele Rocco" userId="b98ebe7a-7641-4b10-bb82-27245654a50a" providerId="ADAL" clId="{05A8CA33-8AB0-4B87-A00A-3A9C909B6976}" dt="2024-01-23T19:15:24.049" v="1441" actId="1076"/>
          <ac:picMkLst>
            <pc:docMk/>
            <pc:sldMk cId="2267554649" sldId="329"/>
            <ac:picMk id="26" creationId="{8B6AB3E0-9C39-066A-E257-8E6417B458E6}"/>
          </ac:picMkLst>
        </pc:picChg>
        <pc:picChg chg="add mod">
          <ac:chgData name="Michele Rocco" userId="b98ebe7a-7641-4b10-bb82-27245654a50a" providerId="ADAL" clId="{05A8CA33-8AB0-4B87-A00A-3A9C909B6976}" dt="2024-01-23T19:15:34.571" v="1444" actId="1076"/>
          <ac:picMkLst>
            <pc:docMk/>
            <pc:sldMk cId="2267554649" sldId="329"/>
            <ac:picMk id="29" creationId="{63C91E9A-A05A-5A9C-A44D-A86BFBE700BE}"/>
          </ac:picMkLst>
        </pc:pic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8" creationId="{E09B894D-996C-0C38-5FAB-9747B2A2EF0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9" creationId="{38877068-94E4-C5A9-5BA7-8FA26600B782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0" creationId="{B220B93F-3498-C377-9EBE-E66D59CFD6D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1" creationId="{56BED9DB-1892-2474-E6D4-4F8CE34319E0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2" creationId="{916A4480-48AF-0FEF-3F17-9ECBF78943C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3" creationId="{14291057-CDEF-9F63-3802-4572E6F84C86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4" creationId="{4944FAC8-74B0-C6D0-DAAA-09174C43B663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5" creationId="{9BF05305-4662-84A1-B3E6-9571F351FB8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6" creationId="{6922071E-FDC4-120E-DFF2-CE7218A48B5E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7" creationId="{05531333-9651-749A-AB51-C1531F15320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18" creationId="{FE81BC2C-A795-5273-7914-7AF5C7B4417C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0" creationId="{7F9581A2-23E0-4A63-E31E-91A9F19FB78F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1" creationId="{85E7F1D4-0920-C642-59A7-9BA58AEAEC7D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2" creationId="{519F45D1-12EF-928F-5722-CF4733D38FF9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4" creationId="{B6B29A10-34F2-C4DA-EB39-81FB847F6C58}"/>
          </ac:inkMkLst>
        </pc:inkChg>
        <pc:inkChg chg="mod">
          <ac:chgData name="Michele Rocco" userId="b98ebe7a-7641-4b10-bb82-27245654a50a" providerId="ADAL" clId="{05A8CA33-8AB0-4B87-A00A-3A9C909B6976}" dt="2024-01-23T17:22:36.883" v="919"/>
          <ac:inkMkLst>
            <pc:docMk/>
            <pc:sldMk cId="2267554649" sldId="329"/>
            <ac:inkMk id="25" creationId="{32129BDE-2661-EBEB-406D-4ECC40AA4A2B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9:00:25.630" v="10401" actId="20577"/>
        <pc:sldMkLst>
          <pc:docMk/>
          <pc:sldMk cId="1820970117" sldId="330"/>
        </pc:sldMkLst>
        <pc:spChg chg="mod">
          <ac:chgData name="Michele Rocco" userId="b98ebe7a-7641-4b10-bb82-27245654a50a" providerId="ADAL" clId="{05A8CA33-8AB0-4B87-A00A-3A9C909B6976}" dt="2024-01-24T09:00:25.630" v="10401" actId="20577"/>
          <ac:spMkLst>
            <pc:docMk/>
            <pc:sldMk cId="1820970117" sldId="330"/>
            <ac:spMk id="2" creationId="{1314C611-93D8-48B2-50E8-0B42B8DEEC67}"/>
          </ac:spMkLst>
        </pc:spChg>
        <pc:spChg chg="mod">
          <ac:chgData name="Michele Rocco" userId="b98ebe7a-7641-4b10-bb82-27245654a50a" providerId="ADAL" clId="{05A8CA33-8AB0-4B87-A00A-3A9C909B6976}" dt="2024-01-23T17:22:51.576" v="921"/>
          <ac:spMkLst>
            <pc:docMk/>
            <pc:sldMk cId="1820970117" sldId="330"/>
            <ac:spMk id="3" creationId="{CC3584A6-638E-24D3-AAA0-D50323811B03}"/>
          </ac:spMkLst>
        </pc:s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7" creationId="{0214A84C-6F23-2B59-3E3E-633BD396DE7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12" creationId="{0562198C-3D9C-0BB4-D968-C90F2DEFF3CB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43" creationId="{7FDC1CCB-0A71-FE83-FB9C-70D4786B13E5}"/>
          </ac:grpSpMkLst>
        </pc:grpChg>
        <pc:grpChg chg="add del mod">
          <ac:chgData name="Michele Rocco" userId="b98ebe7a-7641-4b10-bb82-27245654a50a" providerId="ADAL" clId="{05A8CA33-8AB0-4B87-A00A-3A9C909B6976}" dt="2024-01-24T07:26:38.388" v="1468" actId="478"/>
          <ac:grpSpMkLst>
            <pc:docMk/>
            <pc:sldMk cId="1820970117" sldId="330"/>
            <ac:grpSpMk id="58" creationId="{43A8658E-355B-018B-0F5D-D6786E314ECC}"/>
          </ac:grpSpMkLst>
        </pc:grpChg>
        <pc:picChg chg="add mod">
          <ac:chgData name="Michele Rocco" userId="b98ebe7a-7641-4b10-bb82-27245654a50a" providerId="ADAL" clId="{05A8CA33-8AB0-4B87-A00A-3A9C909B6976}" dt="2024-01-24T08:47:41.309" v="9799" actId="1076"/>
          <ac:picMkLst>
            <pc:docMk/>
            <pc:sldMk cId="1820970117" sldId="330"/>
            <ac:picMk id="85" creationId="{DEDFA6ED-1DEB-E888-D167-4ECF791C349D}"/>
          </ac:picMkLst>
        </pc:picChg>
        <pc:picChg chg="add mod">
          <ac:chgData name="Michele Rocco" userId="b98ebe7a-7641-4b10-bb82-27245654a50a" providerId="ADAL" clId="{05A8CA33-8AB0-4B87-A00A-3A9C909B6976}" dt="2024-01-24T07:32:46.837" v="1498" actId="1076"/>
          <ac:picMkLst>
            <pc:docMk/>
            <pc:sldMk cId="1820970117" sldId="330"/>
            <ac:picMk id="87" creationId="{0996DBAA-C6DA-FD70-4362-449903246DF7}"/>
          </ac:picMkLst>
        </pc:pic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6" creationId="{7456959F-E380-4C4E-4B8C-ED76A5DFFE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8" creationId="{8263856C-993A-9F43-D910-1C572DC352D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9" creationId="{72874EAA-D65B-C591-1A1E-405D1915909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0" creationId="{30620A0D-9B28-4311-44C5-202FBD0287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1" creationId="{5AB9948F-9746-648B-BAA9-5BC467AF9C1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3" creationId="{6C21103F-669D-8E50-1D23-46AA67C83AA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4" creationId="{D4C22653-DFAB-1828-111D-68B2F8D44F5A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5" creationId="{C7C6AFA3-343D-5D30-54FD-968835FCF82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6" creationId="{B7036DBC-A659-9FA0-B7B5-DD398889F0E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7" creationId="{873BC427-5532-8D8B-B711-B0CF0E0C7E2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8" creationId="{A5BA32F9-A812-600A-F086-F89EFEE180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19" creationId="{B994F8CE-555F-9724-C1E9-162C5A3F9C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0" creationId="{76AD46EC-12CF-FD3A-3BD0-E693CCE249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1" creationId="{897B8724-C63B-F394-32DD-8A0BF94789A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22" creationId="{D37DD2D3-8F48-31E9-B217-BC81D4E09F4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3" creationId="{48053958-4A0E-DA02-B953-4DA204803E0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4" creationId="{5F398E0F-3C04-232A-ACE0-BDEB8D5A5B8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5" creationId="{BFC1A007-734C-D7A0-0D8C-8A4A07DD12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6" creationId="{4CBC96C7-FC3D-461E-D313-4559810CD02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7" creationId="{0C4B8BFB-CB56-68DC-3829-CC3E871FA24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8" creationId="{27B09DE6-42A9-15E2-6F51-D84D662A0E32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29" creationId="{BBAD480F-4370-18C3-A991-34749A9C90A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0" creationId="{544B50AD-78BA-C5E7-6786-F830B9CDF69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1" creationId="{0F35A475-BCC0-1C82-0F21-5A88FCBD215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2" creationId="{2953D196-C6A2-70F5-CC64-9C3C27525279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3" creationId="{7844B3C6-FB5F-ADB7-B353-39460B79CB8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4" creationId="{98A9010B-1ACA-BA66-89FD-CD91A57C67FB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5" creationId="{78FE3209-6477-609A-E7F8-DA5E25C913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6" creationId="{D7A317EF-5CCA-BBB1-21B1-890DC0B6DA23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7" creationId="{165BD9E4-A613-A88A-935D-1287CA94A4F0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8" creationId="{DF023F9D-3C38-9BDB-2BD5-6AE839F9504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39" creationId="{C154AF3D-81A5-9B0C-BB8A-C328FDC85A0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0" creationId="{5D6CEF6B-B305-B9E2-1A58-D578C0023E7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1" creationId="{81402854-5708-F948-259F-3848AEC174C1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42" creationId="{C7B2F0CA-E637-6F52-CE38-AE406F8DC19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4" creationId="{406D5376-0B4A-E2B2-0002-55F660073B1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5" creationId="{4BCA0FE0-4133-DAB6-8172-4AC22C4200BF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6" creationId="{4AA8DBF9-13A0-1E9B-0319-14E49054F0D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7" creationId="{5FADA365-80E3-FB59-09CA-D6762A51D625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8" creationId="{37EB8811-D1CD-DA52-FDF4-4B647D7ED933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49" creationId="{F063B735-D5C5-EC29-BDCA-DB415C917E5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0" creationId="{982ABBA0-8C42-AD0C-FF0B-4538DAE4491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1" creationId="{03B10262-B955-0D16-1491-AD00B7EF4B5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2" creationId="{8F04764F-E5E9-9CE0-7772-2C659537946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3" creationId="{208028F6-4E51-C7F0-C6C3-C08929EDA8F4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4" creationId="{B10E3023-EF85-7F6F-5A60-9AFB49AD7CA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5" creationId="{41691AED-56E7-3C6A-0331-A3639999F23C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6" creationId="{7C0D0D58-9FB1-7A97-5A91-7D140866A224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57" creationId="{CD6883B0-1466-208D-F4B5-8A67655FA45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59" creationId="{E98656CD-B4A1-BD7E-BB4D-BC49361A3E8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0" creationId="{F429CF93-D6F9-438B-C79E-CB6326E6C9E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1" creationId="{A8957F6D-6C06-BBE0-8AA5-E6FB424658C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2" creationId="{E75C4710-5148-1207-D72E-DE0777D2EF4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3" creationId="{51A8E93C-1698-30BE-2BB4-43D456763AC2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4" creationId="{DD81867B-AF63-BBAA-8B5B-DB726505F66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5" creationId="{ED0834DA-9CDE-A352-7CE2-8D5989D60A3E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6" creationId="{336B7F27-C7F6-D258-22FF-AB350D47F36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7" creationId="{88CE3D3D-7FE7-4300-542F-BA603C84AF9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8" creationId="{F3E00804-EC3F-598E-4066-93EEA86FE888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69" creationId="{DD0A0C59-161F-AEDB-F2B2-053447DBAB49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0" creationId="{4505FF45-44CB-A369-00E7-445938AB90D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1" creationId="{61BC4A4D-7A99-E2CD-A02D-ECD3EDFBDDC7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2" creationId="{AD2F5041-B8CB-9221-D5C4-632F4C2E4F01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3" creationId="{F30DB2F1-70E9-58F7-1453-8BD33D46188B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4" creationId="{D850674E-2F5F-AB18-98C0-DFEF8FBD2E06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5" creationId="{2E356A71-F055-595F-C9F8-7E967953ABDC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6" creationId="{3CA2915E-1029-3056-7148-5476BD4184B0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7" creationId="{DDA4F934-7E0E-AE24-6DB5-437FD7543E4D}"/>
          </ac:inkMkLst>
        </pc:inkChg>
        <pc:inkChg chg="mod">
          <ac:chgData name="Michele Rocco" userId="b98ebe7a-7641-4b10-bb82-27245654a50a" providerId="ADAL" clId="{05A8CA33-8AB0-4B87-A00A-3A9C909B6976}" dt="2024-01-23T19:16:26.587" v="1446"/>
          <ac:inkMkLst>
            <pc:docMk/>
            <pc:sldMk cId="1820970117" sldId="330"/>
            <ac:inkMk id="78" creationId="{411155A3-D44C-B647-129C-A7256FE1BFB5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79" creationId="{5CDDB63F-B93D-9681-4701-C437F6BC6C2A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0" creationId="{B544EB51-3E61-38BB-A8BE-782ADF50F186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1" creationId="{718CE26F-F0DF-A765-5DB3-6FFF61A4B89E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2" creationId="{BE77742C-7254-FC69-9A49-EBB763673B48}"/>
          </ac:inkMkLst>
        </pc:inkChg>
        <pc:inkChg chg="add del mod">
          <ac:chgData name="Michele Rocco" userId="b98ebe7a-7641-4b10-bb82-27245654a50a" providerId="ADAL" clId="{05A8CA33-8AB0-4B87-A00A-3A9C909B6976}" dt="2024-01-24T07:26:38.388" v="1468" actId="478"/>
          <ac:inkMkLst>
            <pc:docMk/>
            <pc:sldMk cId="1820970117" sldId="330"/>
            <ac:inkMk id="83" creationId="{30D099D6-502F-64D4-4C79-C886BE99E572}"/>
          </ac:inkMkLst>
        </pc:inkChg>
      </pc:sldChg>
      <pc:sldChg chg="addSp delSp modSp new mod modNotesTx">
        <pc:chgData name="Michele Rocco" userId="b98ebe7a-7641-4b10-bb82-27245654a50a" providerId="ADAL" clId="{05A8CA33-8AB0-4B87-A00A-3A9C909B6976}" dt="2024-01-24T08:44:24.924" v="9519" actId="20577"/>
        <pc:sldMkLst>
          <pc:docMk/>
          <pc:sldMk cId="2719045758" sldId="331"/>
        </pc:sldMkLst>
        <pc:spChg chg="mod">
          <ac:chgData name="Michele Rocco" userId="b98ebe7a-7641-4b10-bb82-27245654a50a" providerId="ADAL" clId="{05A8CA33-8AB0-4B87-A00A-3A9C909B6976}" dt="2024-01-24T07:33:07.287" v="1499" actId="14100"/>
          <ac:spMkLst>
            <pc:docMk/>
            <pc:sldMk cId="2719045758" sldId="331"/>
            <ac:spMk id="2" creationId="{2DE7B6B3-A861-C550-F60E-2B1287FB6E44}"/>
          </ac:spMkLst>
        </pc:spChg>
        <pc:spChg chg="mod">
          <ac:chgData name="Michele Rocco" userId="b98ebe7a-7641-4b10-bb82-27245654a50a" providerId="ADAL" clId="{05A8CA33-8AB0-4B87-A00A-3A9C909B6976}" dt="2024-01-23T18:55:05.820" v="1376" actId="20577"/>
          <ac:spMkLst>
            <pc:docMk/>
            <pc:sldMk cId="2719045758" sldId="331"/>
            <ac:spMk id="3" creationId="{CE529870-F6CB-3F52-E0B0-F76CBD969F21}"/>
          </ac:spMkLst>
        </pc:spChg>
        <pc:picChg chg="add del mod">
          <ac:chgData name="Michele Rocco" userId="b98ebe7a-7641-4b10-bb82-27245654a50a" providerId="ADAL" clId="{05A8CA33-8AB0-4B87-A00A-3A9C909B6976}" dt="2024-01-23T19:12:18.813" v="1422" actId="478"/>
          <ac:picMkLst>
            <pc:docMk/>
            <pc:sldMk cId="2719045758" sldId="331"/>
            <ac:picMk id="7" creationId="{D6CACD37-CB83-6196-08CC-7D5722A436CB}"/>
          </ac:picMkLst>
        </pc:picChg>
        <pc:picChg chg="add mod">
          <ac:chgData name="Michele Rocco" userId="b98ebe7a-7641-4b10-bb82-27245654a50a" providerId="ADAL" clId="{05A8CA33-8AB0-4B87-A00A-3A9C909B6976}" dt="2024-01-23T19:12:08.622" v="1420"/>
          <ac:picMkLst>
            <pc:docMk/>
            <pc:sldMk cId="2719045758" sldId="331"/>
            <ac:picMk id="9" creationId="{7DD1AC8A-BE84-A182-365F-AA710E47D1C6}"/>
          </ac:picMkLst>
        </pc:picChg>
        <pc:picChg chg="add mod">
          <ac:chgData name="Michele Rocco" userId="b98ebe7a-7641-4b10-bb82-27245654a50a" providerId="ADAL" clId="{05A8CA33-8AB0-4B87-A00A-3A9C909B6976}" dt="2024-01-23T19:13:57.763" v="1430" actId="14826"/>
          <ac:picMkLst>
            <pc:docMk/>
            <pc:sldMk cId="2719045758" sldId="331"/>
            <ac:picMk id="11" creationId="{D38B27AD-2793-547A-E6E5-7CAC6356DC35}"/>
          </ac:picMkLst>
        </pc:picChg>
      </pc:sldChg>
      <pc:sldMasterChg chg="modSldLayout">
        <pc:chgData name="Michele Rocco" userId="b98ebe7a-7641-4b10-bb82-27245654a50a" providerId="ADAL" clId="{05A8CA33-8AB0-4B87-A00A-3A9C909B6976}" dt="2024-01-23T20:00:00.676" v="1466" actId="14826"/>
        <pc:sldMasterMkLst>
          <pc:docMk/>
          <pc:sldMasterMk cId="0" sldId="2147483715"/>
        </pc:sldMasterMkLst>
        <pc:sldLayoutChg chg="modSp mod">
          <pc:chgData name="Michele Rocco" userId="b98ebe7a-7641-4b10-bb82-27245654a50a" providerId="ADAL" clId="{05A8CA33-8AB0-4B87-A00A-3A9C909B6976}" dt="2024-01-23T20:00:00.676" v="1466" actId="14826"/>
          <pc:sldLayoutMkLst>
            <pc:docMk/>
            <pc:sldMasterMk cId="0" sldId="2147483715"/>
            <pc:sldLayoutMk cId="197727015" sldId="2147483753"/>
          </pc:sldLayoutMkLst>
          <pc:spChg chg="mod">
            <ac:chgData name="Michele Rocco" userId="b98ebe7a-7641-4b10-bb82-27245654a50a" providerId="ADAL" clId="{05A8CA33-8AB0-4B87-A00A-3A9C909B6976}" dt="2024-01-23T20:00:00.382" v="1465" actId="20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mod">
            <ac:chgData name="Michele Rocco" userId="b98ebe7a-7641-4b10-bb82-27245654a50a" providerId="ADAL" clId="{05A8CA33-8AB0-4B87-A00A-3A9C909B6976}" dt="2024-01-23T20:00:00.073" v="1464" actId="207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mod">
            <ac:chgData name="Michele Rocco" userId="b98ebe7a-7641-4b10-bb82-27245654a50a" providerId="ADAL" clId="{05A8CA33-8AB0-4B87-A00A-3A9C909B6976}" dt="2024-01-23T20:00:00.676" v="1466" actId="1482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</pc:sldMasterChg>
    </pc:docChg>
  </pc:docChgLst>
  <pc:docChgLst>
    <pc:chgData name="Luca Ricci" userId="S::10451631@polimi.it::ee5f09d5-0832-4e68-94c9-d8bfd2ad04f0" providerId="AD" clId="Web-{06B5F6D7-F6D5-A4D6-60C7-D2A963F38002}"/>
    <pc:docChg chg="modSld">
      <pc:chgData name="Luca Ricci" userId="S::10451631@polimi.it::ee5f09d5-0832-4e68-94c9-d8bfd2ad04f0" providerId="AD" clId="Web-{06B5F6D7-F6D5-A4D6-60C7-D2A963F38002}" dt="2024-01-24T10:26:41.869" v="2"/>
      <pc:docMkLst>
        <pc:docMk/>
      </pc:docMkLst>
      <pc:sldChg chg="addSp delSp modSp">
        <pc:chgData name="Luca Ricci" userId="S::10451631@polimi.it::ee5f09d5-0832-4e68-94c9-d8bfd2ad04f0" providerId="AD" clId="Web-{06B5F6D7-F6D5-A4D6-60C7-D2A963F38002}" dt="2024-01-24T10:26:41.869" v="2"/>
        <pc:sldMkLst>
          <pc:docMk/>
          <pc:sldMk cId="4109715435" sldId="313"/>
        </pc:sldMkLst>
        <pc:picChg chg="add del mod">
          <ac:chgData name="Luca Ricci" userId="S::10451631@polimi.it::ee5f09d5-0832-4e68-94c9-d8bfd2ad04f0" providerId="AD" clId="Web-{06B5F6D7-F6D5-A4D6-60C7-D2A963F38002}" dt="2024-01-24T10:26:41.869" v="2"/>
          <ac:picMkLst>
            <pc:docMk/>
            <pc:sldMk cId="4109715435" sldId="313"/>
            <ac:picMk id="6" creationId="{EB92A031-3D59-B665-2EA9-EC72CFBD5D90}"/>
          </ac:picMkLst>
        </pc:picChg>
      </pc:sldChg>
    </pc:docChg>
  </pc:docChgLst>
  <pc:docChgLst>
    <pc:chgData name="Luca Ricci" userId="ee5f09d5-0832-4e68-94c9-d8bfd2ad04f0" providerId="ADAL" clId="{D501E5E2-574F-6542-B665-A334471D5578}"/>
    <pc:docChg chg="undo redo custSel addSld delSld modSld sldOrd addMainMaster delMainMaster modMainMaster">
      <pc:chgData name="Luca Ricci" userId="ee5f09d5-0832-4e68-94c9-d8bfd2ad04f0" providerId="ADAL" clId="{D501E5E2-574F-6542-B665-A334471D5578}" dt="2023-12-18T18:21:18.871" v="11144" actId="729"/>
      <pc:docMkLst>
        <pc:docMk/>
      </pc:docMkLst>
      <pc:sldChg chg="addSp modSp">
        <pc:chgData name="Luca Ricci" userId="ee5f09d5-0832-4e68-94c9-d8bfd2ad04f0" providerId="ADAL" clId="{D501E5E2-574F-6542-B665-A334471D5578}" dt="2023-12-18T09:06:53.402" v="653"/>
        <pc:sldMkLst>
          <pc:docMk/>
          <pc:sldMk cId="895135860" sldId="257"/>
        </pc:sldMkLst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2" creationId="{D2564175-C9EF-3B93-134E-A687C1E19C6C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3" creationId="{C4C29F39-0E99-0D32-4784-3D6A3174A854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895135860" sldId="257"/>
            <ac:spMk id="4" creationId="{FB609C30-E72C-1417-8E45-3611EB176DFD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09:06:53.402" v="653"/>
        <pc:sldMkLst>
          <pc:docMk/>
          <pc:sldMk cId="3601296254" sldId="258"/>
        </pc:sldMkLst>
        <pc:spChg chg="del mod ord">
          <ac:chgData name="Luca Ricci" userId="ee5f09d5-0832-4e68-94c9-d8bfd2ad04f0" providerId="ADAL" clId="{D501E5E2-574F-6542-B665-A334471D5578}" dt="2023-12-18T08:20:01.623" v="210" actId="700"/>
          <ac:spMkLst>
            <pc:docMk/>
            <pc:sldMk cId="3601296254" sldId="258"/>
            <ac:spMk id="2" creationId="{CCB29A08-B983-492B-BF60-186DB105E3DB}"/>
          </ac:spMkLst>
        </pc:spChg>
        <pc:spChg chg="add mod ord">
          <ac:chgData name="Luca Ricci" userId="ee5f09d5-0832-4e68-94c9-d8bfd2ad04f0" providerId="ADAL" clId="{D501E5E2-574F-6542-B665-A334471D5578}" dt="2023-12-18T09:06:32.953" v="652" actId="20577"/>
          <ac:spMkLst>
            <pc:docMk/>
            <pc:sldMk cId="3601296254" sldId="258"/>
            <ac:spMk id="3" creationId="{90D17616-C6F6-5E72-B3B8-B8737DA3DB23}"/>
          </ac:spMkLst>
        </pc:spChg>
        <pc:spChg chg="add mod ord">
          <ac:chgData name="Luca Ricci" userId="ee5f09d5-0832-4e68-94c9-d8bfd2ad04f0" providerId="ADAL" clId="{D501E5E2-574F-6542-B665-A334471D5578}" dt="2023-12-18T09:06:11.757" v="623" actId="5793"/>
          <ac:spMkLst>
            <pc:docMk/>
            <pc:sldMk cId="3601296254" sldId="258"/>
            <ac:spMk id="4" creationId="{1AC29BDC-7CB8-266E-07CF-D9D5D9169AC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5" creationId="{7320F8E3-EA9B-AD24-77A4-B9D43D6203B6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6" creationId="{7FB64869-3AB3-60D0-1493-68013A210278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3601296254" sldId="258"/>
            <ac:spMk id="7" creationId="{2C1B45AB-9D9F-27AF-2E73-E37392412CCF}"/>
          </ac:spMkLst>
        </pc:spChg>
      </pc:sldChg>
      <pc:sldChg chg="addSp delSp modSp mod modClrScheme chgLayout">
        <pc:chgData name="Luca Ricci" userId="ee5f09d5-0832-4e68-94c9-d8bfd2ad04f0" providerId="ADAL" clId="{D501E5E2-574F-6542-B665-A334471D5578}" dt="2023-12-18T18:19:36.528" v="11142" actId="20577"/>
        <pc:sldMkLst>
          <pc:docMk/>
          <pc:sldMk cId="1625672892" sldId="259"/>
        </pc:sldMkLst>
        <pc:spChg chg="mod ord">
          <ac:chgData name="Luca Ricci" userId="ee5f09d5-0832-4e68-94c9-d8bfd2ad04f0" providerId="ADAL" clId="{D501E5E2-574F-6542-B665-A334471D5578}" dt="2023-12-18T09:28:40.383" v="807" actId="20577"/>
          <ac:spMkLst>
            <pc:docMk/>
            <pc:sldMk cId="1625672892" sldId="259"/>
            <ac:spMk id="2" creationId="{96B142A3-3E18-4302-85FC-39EF0216B791}"/>
          </ac:spMkLst>
        </pc:spChg>
        <pc:spChg chg="del mod">
          <ac:chgData name="Luca Ricci" userId="ee5f09d5-0832-4e68-94c9-d8bfd2ad04f0" providerId="ADAL" clId="{D501E5E2-574F-6542-B665-A334471D5578}" dt="2023-12-18T09:27:08.184" v="758" actId="700"/>
          <ac:spMkLst>
            <pc:docMk/>
            <pc:sldMk cId="1625672892" sldId="259"/>
            <ac:spMk id="3" creationId="{E0560B38-ED9A-4688-A544-CA41460ADE1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4" creationId="{AE04079E-5E0C-B09A-31EF-4BAC92C76053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5" creationId="{093F932A-91E0-B582-BF2F-5485DF901675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1625672892" sldId="259"/>
            <ac:spMk id="6" creationId="{635F2D69-9F04-B46D-3214-C329667F23F1}"/>
          </ac:spMkLst>
        </pc:spChg>
        <pc:spChg chg="add del mod ord">
          <ac:chgData name="Luca Ricci" userId="ee5f09d5-0832-4e68-94c9-d8bfd2ad04f0" providerId="ADAL" clId="{D501E5E2-574F-6542-B665-A334471D5578}" dt="2023-12-18T09:27:56.923" v="764" actId="931"/>
          <ac:spMkLst>
            <pc:docMk/>
            <pc:sldMk cId="1625672892" sldId="259"/>
            <ac:spMk id="9" creationId="{C34AE186-9A41-7F93-E4AD-C193DB0E2702}"/>
          </ac:spMkLst>
        </pc:spChg>
        <pc:spChg chg="add mod ord">
          <ac:chgData name="Luca Ricci" userId="ee5f09d5-0832-4e68-94c9-d8bfd2ad04f0" providerId="ADAL" clId="{D501E5E2-574F-6542-B665-A334471D5578}" dt="2023-12-18T18:19:36.528" v="11142" actId="20577"/>
          <ac:spMkLst>
            <pc:docMk/>
            <pc:sldMk cId="1625672892" sldId="259"/>
            <ac:spMk id="10" creationId="{5A82A501-62D7-BA88-FCEA-42DF25F31526}"/>
          </ac:spMkLst>
        </pc:spChg>
        <pc:spChg chg="add del mod">
          <ac:chgData name="Luca Ricci" userId="ee5f09d5-0832-4e68-94c9-d8bfd2ad04f0" providerId="ADAL" clId="{D501E5E2-574F-6542-B665-A334471D5578}" dt="2023-12-18T09:40:40.035" v="1273" actId="931"/>
          <ac:spMkLst>
            <pc:docMk/>
            <pc:sldMk cId="1625672892" sldId="259"/>
            <ac:spMk id="14" creationId="{8FD93D57-1B13-BBFE-3D74-53ED21EC04A7}"/>
          </ac:spMkLst>
        </pc:spChg>
        <pc:picChg chg="add del mod">
          <ac:chgData name="Luca Ricci" userId="ee5f09d5-0832-4e68-94c9-d8bfd2ad04f0" providerId="ADAL" clId="{D501E5E2-574F-6542-B665-A334471D5578}" dt="2023-12-18T09:27:38.474" v="762" actId="478"/>
          <ac:picMkLst>
            <pc:docMk/>
            <pc:sldMk cId="1625672892" sldId="259"/>
            <ac:picMk id="8" creationId="{DE5DFFEA-D991-CC39-97A3-95ED20465A48}"/>
          </ac:picMkLst>
        </pc:picChg>
        <pc:picChg chg="add del mod">
          <ac:chgData name="Luca Ricci" userId="ee5f09d5-0832-4e68-94c9-d8bfd2ad04f0" providerId="ADAL" clId="{D501E5E2-574F-6542-B665-A334471D5578}" dt="2023-12-18T09:40:30.671" v="1272" actId="478"/>
          <ac:picMkLst>
            <pc:docMk/>
            <pc:sldMk cId="1625672892" sldId="259"/>
            <ac:picMk id="12" creationId="{EB74877C-723D-8C93-7F51-B2F480B9553E}"/>
          </ac:picMkLst>
        </pc:picChg>
        <pc:picChg chg="add mod">
          <ac:chgData name="Luca Ricci" userId="ee5f09d5-0832-4e68-94c9-d8bfd2ad04f0" providerId="ADAL" clId="{D501E5E2-574F-6542-B665-A334471D5578}" dt="2023-12-18T09:40:51.237" v="1276" actId="14100"/>
          <ac:picMkLst>
            <pc:docMk/>
            <pc:sldMk cId="1625672892" sldId="259"/>
            <ac:picMk id="16" creationId="{69C012A2-2CBB-CC32-EDF2-0B6DFA6D9245}"/>
          </ac:picMkLst>
        </pc:picChg>
      </pc:sldChg>
      <pc:sldChg chg="addSp delSp modSp mod modClrScheme chgLayout">
        <pc:chgData name="Luca Ricci" userId="ee5f09d5-0832-4e68-94c9-d8bfd2ad04f0" providerId="ADAL" clId="{D501E5E2-574F-6542-B665-A334471D5578}" dt="2023-12-18T18:18:50.640" v="11129" actId="20577"/>
        <pc:sldMkLst>
          <pc:docMk/>
          <pc:sldMk cId="913701754" sldId="267"/>
        </pc:sldMkLst>
        <pc:spChg chg="add mod ord">
          <ac:chgData name="Luca Ricci" userId="ee5f09d5-0832-4e68-94c9-d8bfd2ad04f0" providerId="ADAL" clId="{D501E5E2-574F-6542-B665-A334471D5578}" dt="2023-12-18T13:47:37.487" v="7642" actId="20577"/>
          <ac:spMkLst>
            <pc:docMk/>
            <pc:sldMk cId="913701754" sldId="267"/>
            <ac:spMk id="2" creationId="{B40086CB-E149-4C33-F1BF-6132B0867F59}"/>
          </ac:spMkLst>
        </pc:spChg>
        <pc:spChg chg="add mod ord">
          <ac:chgData name="Luca Ricci" userId="ee5f09d5-0832-4e68-94c9-d8bfd2ad04f0" providerId="ADAL" clId="{D501E5E2-574F-6542-B665-A334471D5578}" dt="2023-12-18T18:18:50.640" v="11129" actId="20577"/>
          <ac:spMkLst>
            <pc:docMk/>
            <pc:sldMk cId="913701754" sldId="267"/>
            <ac:spMk id="3" creationId="{8D39D37D-9355-8216-502B-248CE6B8D7D6}"/>
          </ac:spMkLst>
        </pc:spChg>
        <pc:spChg chg="add del mod ord">
          <ac:chgData name="Luca Ricci" userId="ee5f09d5-0832-4e68-94c9-d8bfd2ad04f0" providerId="ADAL" clId="{D501E5E2-574F-6542-B665-A334471D5578}" dt="2023-12-18T08:19:41.594" v="209" actId="700"/>
          <ac:spMkLst>
            <pc:docMk/>
            <pc:sldMk cId="913701754" sldId="267"/>
            <ac:spMk id="4" creationId="{0D2DED1B-73B1-B0BA-36B5-509A78042FE9}"/>
          </ac:spMkLst>
        </pc:spChg>
        <pc:spChg chg="mod ord">
          <ac:chgData name="Luca Ricci" userId="ee5f09d5-0832-4e68-94c9-d8bfd2ad04f0" providerId="ADAL" clId="{D501E5E2-574F-6542-B665-A334471D5578}" dt="2023-12-18T09:13:17.782" v="698" actId="700"/>
          <ac:spMkLst>
            <pc:docMk/>
            <pc:sldMk cId="913701754" sldId="267"/>
            <ac:spMk id="5" creationId="{E21AFF28-0883-405B-A8DD-D42393A233A2}"/>
          </ac:spMkLst>
        </pc:spChg>
        <pc:spChg chg="add del mod ord">
          <ac:chgData name="Luca Ricci" userId="ee5f09d5-0832-4e68-94c9-d8bfd2ad04f0" providerId="ADAL" clId="{D501E5E2-574F-6542-B665-A334471D5578}" dt="2023-12-18T09:02:20.701" v="482" actId="700"/>
          <ac:spMkLst>
            <pc:docMk/>
            <pc:sldMk cId="913701754" sldId="267"/>
            <ac:spMk id="8" creationId="{217B792B-0122-24F7-FF2A-6C7D634A97AD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9" creationId="{9EFF392B-32BC-BB90-E872-6D1F9AC4B7EB}"/>
          </ac:spMkLst>
        </pc:spChg>
        <pc:spChg chg="add mod">
          <ac:chgData name="Luca Ricci" userId="ee5f09d5-0832-4e68-94c9-d8bfd2ad04f0" providerId="ADAL" clId="{D501E5E2-574F-6542-B665-A334471D5578}" dt="2023-12-18T09:06:53.402" v="653"/>
          <ac:spMkLst>
            <pc:docMk/>
            <pc:sldMk cId="913701754" sldId="267"/>
            <ac:spMk id="10" creationId="{1D63E338-3196-8361-952F-5561020766FD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0" creationId="{457D79A4-B774-F283-EF5E-EDFE0130FC03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1" creationId="{255F264B-E505-588A-9605-3C51E4AB1FAB}"/>
          </ac:spMkLst>
        </pc:spChg>
        <pc:spChg chg="del mod ord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2" creationId="{7D01FEAD-26A1-B766-C97A-56B40A6FE3BC}"/>
          </ac:spMkLst>
        </pc:spChg>
        <pc:spChg chg="del">
          <ac:chgData name="Luca Ricci" userId="ee5f09d5-0832-4e68-94c9-d8bfd2ad04f0" providerId="ADAL" clId="{D501E5E2-574F-6542-B665-A334471D5578}" dt="2023-12-18T08:17:50.366" v="14" actId="700"/>
          <ac:spMkLst>
            <pc:docMk/>
            <pc:sldMk cId="913701754" sldId="267"/>
            <ac:spMk id="23" creationId="{7671A821-5F86-8FC3-A75D-B9F48E99632D}"/>
          </ac:spMkLst>
        </pc:spChg>
        <pc:picChg chg="add mod">
          <ac:chgData name="Luca Ricci" userId="ee5f09d5-0832-4e68-94c9-d8bfd2ad04f0" providerId="ADAL" clId="{D501E5E2-574F-6542-B665-A334471D5578}" dt="2023-12-18T08:19:33.044" v="208" actId="931"/>
          <ac:picMkLst>
            <pc:docMk/>
            <pc:sldMk cId="913701754" sldId="267"/>
            <ac:picMk id="7" creationId="{92DA9E47-B569-4E00-4286-C14900FD767B}"/>
          </ac:picMkLst>
        </pc:picChg>
      </pc:sldChg>
      <pc:sldChg chg="modSp new del mod ord">
        <pc:chgData name="Luca Ricci" userId="ee5f09d5-0832-4e68-94c9-d8bfd2ad04f0" providerId="ADAL" clId="{D501E5E2-574F-6542-B665-A334471D5578}" dt="2023-12-18T09:41:19.939" v="1279" actId="2696"/>
        <pc:sldMkLst>
          <pc:docMk/>
          <pc:sldMk cId="683889689" sldId="268"/>
        </pc:sldMkLst>
        <pc:spChg chg="mod">
          <ac:chgData name="Luca Ricci" userId="ee5f09d5-0832-4e68-94c9-d8bfd2ad04f0" providerId="ADAL" clId="{D501E5E2-574F-6542-B665-A334471D5578}" dt="2023-12-18T09:13:49.151" v="728" actId="20577"/>
          <ac:spMkLst>
            <pc:docMk/>
            <pc:sldMk cId="683889689" sldId="268"/>
            <ac:spMk id="3" creationId="{5DFB1B86-CF32-5C53-B05C-F91A75D47873}"/>
          </ac:spMkLst>
        </pc:spChg>
      </pc:sldChg>
      <pc:sldChg chg="modSp new del mod ord">
        <pc:chgData name="Luca Ricci" userId="ee5f09d5-0832-4e68-94c9-d8bfd2ad04f0" providerId="ADAL" clId="{D501E5E2-574F-6542-B665-A334471D5578}" dt="2023-12-18T12:37:13.655" v="7014" actId="2696"/>
        <pc:sldMkLst>
          <pc:docMk/>
          <pc:sldMk cId="2512870275" sldId="269"/>
        </pc:sldMkLst>
        <pc:spChg chg="mod">
          <ac:chgData name="Luca Ricci" userId="ee5f09d5-0832-4e68-94c9-d8bfd2ad04f0" providerId="ADAL" clId="{D501E5E2-574F-6542-B665-A334471D5578}" dt="2023-12-18T10:00:39.595" v="2301" actId="20577"/>
          <ac:spMkLst>
            <pc:docMk/>
            <pc:sldMk cId="2512870275" sldId="269"/>
            <ac:spMk id="2" creationId="{26AA7EFB-0509-54F1-939B-AF45B285E09A}"/>
          </ac:spMkLst>
        </pc:spChg>
        <pc:spChg chg="mod">
          <ac:chgData name="Luca Ricci" userId="ee5f09d5-0832-4e68-94c9-d8bfd2ad04f0" providerId="ADAL" clId="{D501E5E2-574F-6542-B665-A334471D5578}" dt="2023-12-18T09:13:57.992" v="743" actId="20577"/>
          <ac:spMkLst>
            <pc:docMk/>
            <pc:sldMk cId="2512870275" sldId="269"/>
            <ac:spMk id="3" creationId="{15A7AD8A-44DD-6FAA-9660-891A1F6435F4}"/>
          </ac:spMkLst>
        </pc:spChg>
      </pc:sldChg>
      <pc:sldChg chg="modSp new mod">
        <pc:chgData name="Luca Ricci" userId="ee5f09d5-0832-4e68-94c9-d8bfd2ad04f0" providerId="ADAL" clId="{D501E5E2-574F-6542-B665-A334471D5578}" dt="2023-12-18T14:17:57.158" v="8281" actId="20577"/>
        <pc:sldMkLst>
          <pc:docMk/>
          <pc:sldMk cId="3141277617" sldId="270"/>
        </pc:sldMkLst>
        <pc:spChg chg="mod">
          <ac:chgData name="Luca Ricci" userId="ee5f09d5-0832-4e68-94c9-d8bfd2ad04f0" providerId="ADAL" clId="{D501E5E2-574F-6542-B665-A334471D5578}" dt="2023-12-18T14:17:57.158" v="8281" actId="20577"/>
          <ac:spMkLst>
            <pc:docMk/>
            <pc:sldMk cId="3141277617" sldId="270"/>
            <ac:spMk id="2" creationId="{B54ACEA1-1D5E-E9C5-621F-EEA3DF9102BC}"/>
          </ac:spMkLst>
        </pc:spChg>
        <pc:spChg chg="mod">
          <ac:chgData name="Luca Ricci" userId="ee5f09d5-0832-4e68-94c9-d8bfd2ad04f0" providerId="ADAL" clId="{D501E5E2-574F-6542-B665-A334471D5578}" dt="2023-12-18T10:39:05.768" v="5178" actId="20577"/>
          <ac:spMkLst>
            <pc:docMk/>
            <pc:sldMk cId="3141277617" sldId="270"/>
            <ac:spMk id="3" creationId="{08FCFD86-C6C5-9AC0-BA0A-3F6A2B0D96DC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9:58.194" v="11143" actId="20577"/>
        <pc:sldMkLst>
          <pc:docMk/>
          <pc:sldMk cId="1589680712" sldId="271"/>
        </pc:sldMkLst>
        <pc:spChg chg="mod">
          <ac:chgData name="Luca Ricci" userId="ee5f09d5-0832-4e68-94c9-d8bfd2ad04f0" providerId="ADAL" clId="{D501E5E2-574F-6542-B665-A334471D5578}" dt="2023-12-18T18:11:34.019" v="10960" actId="20577"/>
          <ac:spMkLst>
            <pc:docMk/>
            <pc:sldMk cId="1589680712" sldId="271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09:42:05.349" v="1393" actId="478"/>
          <ac:spMkLst>
            <pc:docMk/>
            <pc:sldMk cId="1589680712" sldId="271"/>
            <ac:spMk id="4" creationId="{B017C7BD-602F-0487-8E29-A7CAC0FDDC96}"/>
          </ac:spMkLst>
        </pc:spChg>
        <pc:spChg chg="add mod">
          <ac:chgData name="Luca Ricci" userId="ee5f09d5-0832-4e68-94c9-d8bfd2ad04f0" providerId="ADAL" clId="{D501E5E2-574F-6542-B665-A334471D5578}" dt="2023-12-18T09:44:19.554" v="1525" actId="207"/>
          <ac:spMkLst>
            <pc:docMk/>
            <pc:sldMk cId="1589680712" sldId="271"/>
            <ac:spMk id="5" creationId="{86FA4E78-D0A0-102A-FF33-4EE1591D4623}"/>
          </ac:spMkLst>
        </pc:spChg>
        <pc:spChg chg="add mod">
          <ac:chgData name="Luca Ricci" userId="ee5f09d5-0832-4e68-94c9-d8bfd2ad04f0" providerId="ADAL" clId="{D501E5E2-574F-6542-B665-A334471D5578}" dt="2023-12-18T09:44:33.630" v="1530" actId="1076"/>
          <ac:spMkLst>
            <pc:docMk/>
            <pc:sldMk cId="1589680712" sldId="271"/>
            <ac:spMk id="6" creationId="{D51D789D-905C-86F5-C060-CF961C84F2C9}"/>
          </ac:spMkLst>
        </pc:spChg>
        <pc:spChg chg="add mod">
          <ac:chgData name="Luca Ricci" userId="ee5f09d5-0832-4e68-94c9-d8bfd2ad04f0" providerId="ADAL" clId="{D501E5E2-574F-6542-B665-A334471D5578}" dt="2023-12-18T09:45:06.803" v="1559" actId="14100"/>
          <ac:spMkLst>
            <pc:docMk/>
            <pc:sldMk cId="1589680712" sldId="271"/>
            <ac:spMk id="7" creationId="{E215B337-F8D7-2B47-84CE-40B2CB2392D9}"/>
          </ac:spMkLst>
        </pc:spChg>
        <pc:spChg chg="add mod">
          <ac:chgData name="Luca Ricci" userId="ee5f09d5-0832-4e68-94c9-d8bfd2ad04f0" providerId="ADAL" clId="{D501E5E2-574F-6542-B665-A334471D5578}" dt="2023-12-18T09:45:21.098" v="1563" actId="14100"/>
          <ac:spMkLst>
            <pc:docMk/>
            <pc:sldMk cId="1589680712" sldId="271"/>
            <ac:spMk id="8" creationId="{2D08BCDB-0C6F-8470-2862-04E3519D9D7B}"/>
          </ac:spMkLst>
        </pc:spChg>
        <pc:spChg chg="add mod">
          <ac:chgData name="Luca Ricci" userId="ee5f09d5-0832-4e68-94c9-d8bfd2ad04f0" providerId="ADAL" clId="{D501E5E2-574F-6542-B665-A334471D5578}" dt="2023-12-18T09:45:35.990" v="1569" actId="14100"/>
          <ac:spMkLst>
            <pc:docMk/>
            <pc:sldMk cId="1589680712" sldId="271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8:19:58.194" v="11143" actId="20577"/>
          <ac:spMkLst>
            <pc:docMk/>
            <pc:sldMk cId="1589680712" sldId="271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09:45:44.704" v="1574" actId="14100"/>
          <ac:spMkLst>
            <pc:docMk/>
            <pc:sldMk cId="1589680712" sldId="271"/>
            <ac:spMk id="11" creationId="{3FD9809B-1D8D-A93F-0C0D-19CE6B065D65}"/>
          </ac:spMkLst>
        </pc:spChg>
        <pc:spChg chg="add mod">
          <ac:chgData name="Luca Ricci" userId="ee5f09d5-0832-4e68-94c9-d8bfd2ad04f0" providerId="ADAL" clId="{D501E5E2-574F-6542-B665-A334471D5578}" dt="2023-12-18T09:45:52.125" v="1578" actId="14100"/>
          <ac:spMkLst>
            <pc:docMk/>
            <pc:sldMk cId="1589680712" sldId="271"/>
            <ac:spMk id="12" creationId="{AE118810-192C-E543-381D-FDFEFE17C593}"/>
          </ac:spMkLst>
        </pc:spChg>
        <pc:spChg chg="add mod">
          <ac:chgData name="Luca Ricci" userId="ee5f09d5-0832-4e68-94c9-d8bfd2ad04f0" providerId="ADAL" clId="{D501E5E2-574F-6542-B665-A334471D5578}" dt="2023-12-18T09:46:00.996" v="1582" actId="14100"/>
          <ac:spMkLst>
            <pc:docMk/>
            <pc:sldMk cId="1589680712" sldId="271"/>
            <ac:spMk id="13" creationId="{09F14A1B-3DBC-2776-D40E-28CBC3DE563E}"/>
          </ac:spMkLst>
        </pc:spChg>
      </pc:sldChg>
      <pc:sldChg chg="addSp modSp add del mod">
        <pc:chgData name="Luca Ricci" userId="ee5f09d5-0832-4e68-94c9-d8bfd2ad04f0" providerId="ADAL" clId="{D501E5E2-574F-6542-B665-A334471D5578}" dt="2023-12-18T09:40:59.533" v="1277" actId="2696"/>
        <pc:sldMkLst>
          <pc:docMk/>
          <pc:sldMk cId="2090004041" sldId="271"/>
        </pc:sldMkLst>
        <pc:spChg chg="mod">
          <ac:chgData name="Luca Ricci" userId="ee5f09d5-0832-4e68-94c9-d8bfd2ad04f0" providerId="ADAL" clId="{D501E5E2-574F-6542-B665-A334471D5578}" dt="2023-12-18T09:36:46.740" v="1252" actId="20577"/>
          <ac:spMkLst>
            <pc:docMk/>
            <pc:sldMk cId="2090004041" sldId="271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09:37:22.160" v="1266" actId="14100"/>
          <ac:spMkLst>
            <pc:docMk/>
            <pc:sldMk cId="2090004041" sldId="271"/>
            <ac:spMk id="3" creationId="{53FB8571-B157-A168-A02C-397DAC233CC7}"/>
          </ac:spMkLst>
        </pc:spChg>
        <pc:spChg chg="add mod">
          <ac:chgData name="Luca Ricci" userId="ee5f09d5-0832-4e68-94c9-d8bfd2ad04f0" providerId="ADAL" clId="{D501E5E2-574F-6542-B665-A334471D5578}" dt="2023-12-18T09:36:20.681" v="1214" actId="14100"/>
          <ac:spMkLst>
            <pc:docMk/>
            <pc:sldMk cId="2090004041" sldId="271"/>
            <ac:spMk id="4" creationId="{EC080165-4858-7AA3-F67C-9A20C3E79746}"/>
          </ac:spMkLst>
        </pc:spChg>
        <pc:spChg chg="add mod">
          <ac:chgData name="Luca Ricci" userId="ee5f09d5-0832-4e68-94c9-d8bfd2ad04f0" providerId="ADAL" clId="{D501E5E2-574F-6542-B665-A334471D5578}" dt="2023-12-18T09:36:30.600" v="1218" actId="14100"/>
          <ac:spMkLst>
            <pc:docMk/>
            <pc:sldMk cId="2090004041" sldId="271"/>
            <ac:spMk id="5" creationId="{277B2FCF-CE8A-DB88-DC6F-9F96DDAFA6C3}"/>
          </ac:spMkLst>
        </pc:spChg>
        <pc:spChg chg="add mod">
          <ac:chgData name="Luca Ricci" userId="ee5f09d5-0832-4e68-94c9-d8bfd2ad04f0" providerId="ADAL" clId="{D501E5E2-574F-6542-B665-A334471D5578}" dt="2023-12-18T09:37:34.928" v="1270" actId="14100"/>
          <ac:spMkLst>
            <pc:docMk/>
            <pc:sldMk cId="2090004041" sldId="271"/>
            <ac:spMk id="6" creationId="{23FFE452-3060-8046-E89E-C1B30F83B24D}"/>
          </ac:spMkLst>
        </pc:spChg>
      </pc:sldChg>
      <pc:sldChg chg="addSp delSp modSp add mod">
        <pc:chgData name="Luca Ricci" userId="ee5f09d5-0832-4e68-94c9-d8bfd2ad04f0" providerId="ADAL" clId="{D501E5E2-574F-6542-B665-A334471D5578}" dt="2023-12-18T18:11:59.359" v="10997" actId="20577"/>
        <pc:sldMkLst>
          <pc:docMk/>
          <pc:sldMk cId="2779813759" sldId="272"/>
        </pc:sldMkLst>
        <pc:spChg chg="mod">
          <ac:chgData name="Luca Ricci" userId="ee5f09d5-0832-4e68-94c9-d8bfd2ad04f0" providerId="ADAL" clId="{D501E5E2-574F-6542-B665-A334471D5578}" dt="2023-12-18T18:11:59.359" v="10997" actId="20577"/>
          <ac:spMkLst>
            <pc:docMk/>
            <pc:sldMk cId="2779813759" sldId="272"/>
            <ac:spMk id="2" creationId="{96B142A3-3E18-4302-85FC-39EF0216B791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3" creationId="{3EF73BAF-42A6-A010-727C-541101AEEB35}"/>
          </ac:spMkLst>
        </pc:spChg>
        <pc:spChg chg="add mod">
          <ac:chgData name="Luca Ricci" userId="ee5f09d5-0832-4e68-94c9-d8bfd2ad04f0" providerId="ADAL" clId="{D501E5E2-574F-6542-B665-A334471D5578}" dt="2023-12-18T09:48:18.367" v="1690" actId="14100"/>
          <ac:spMkLst>
            <pc:docMk/>
            <pc:sldMk cId="2779813759" sldId="272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4:44.360" v="7519" actId="478"/>
          <ac:spMkLst>
            <pc:docMk/>
            <pc:sldMk cId="2779813759" sldId="272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4:46.087" v="7520" actId="478"/>
          <ac:spMkLst>
            <pc:docMk/>
            <pc:sldMk cId="2779813759" sldId="272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4:50.866" v="7522" actId="478"/>
          <ac:spMkLst>
            <pc:docMk/>
            <pc:sldMk cId="2779813759" sldId="272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4:48.004" v="7521" actId="478"/>
          <ac:spMkLst>
            <pc:docMk/>
            <pc:sldMk cId="2779813759" sldId="272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4:55.237" v="7524" actId="478"/>
          <ac:spMkLst>
            <pc:docMk/>
            <pc:sldMk cId="2779813759" sldId="272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6:44:46.318" v="10055" actId="20577"/>
          <ac:spMkLst>
            <pc:docMk/>
            <pc:sldMk cId="2779813759" sldId="272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4:56.781" v="7525" actId="478"/>
          <ac:spMkLst>
            <pc:docMk/>
            <pc:sldMk cId="2779813759" sldId="272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4:59.191" v="7526" actId="478"/>
          <ac:spMkLst>
            <pc:docMk/>
            <pc:sldMk cId="2779813759" sldId="272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3:34:53.199" v="7523" actId="478"/>
          <ac:spMkLst>
            <pc:docMk/>
            <pc:sldMk cId="2779813759" sldId="272"/>
            <ac:spMk id="13" creationId="{09F14A1B-3DBC-2776-D40E-28CBC3DE563E}"/>
          </ac:spMkLst>
        </pc:spChg>
        <pc:spChg chg="add mod">
          <ac:chgData name="Luca Ricci" userId="ee5f09d5-0832-4e68-94c9-d8bfd2ad04f0" providerId="ADAL" clId="{D501E5E2-574F-6542-B665-A334471D5578}" dt="2023-12-18T09:48:30.460" v="1697" actId="14100"/>
          <ac:spMkLst>
            <pc:docMk/>
            <pc:sldMk cId="2779813759" sldId="272"/>
            <ac:spMk id="14" creationId="{63BAE6FF-B12C-2A4D-2B25-8B4C96E7A85D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5" creationId="{FFFB0D11-6842-7935-6A96-AFF1AB638A96}"/>
          </ac:spMkLst>
        </pc:spChg>
        <pc:spChg chg="add mod">
          <ac:chgData name="Luca Ricci" userId="ee5f09d5-0832-4e68-94c9-d8bfd2ad04f0" providerId="ADAL" clId="{D501E5E2-574F-6542-B665-A334471D5578}" dt="2023-12-18T13:30:00.800" v="7501" actId="207"/>
          <ac:spMkLst>
            <pc:docMk/>
            <pc:sldMk cId="2779813759" sldId="272"/>
            <ac:spMk id="17" creationId="{F496740F-0E92-4DAD-8200-0B92F7D4CD75}"/>
          </ac:spMkLst>
        </pc:spChg>
      </pc:sldChg>
      <pc:sldChg chg="delSp modSp add mod">
        <pc:chgData name="Luca Ricci" userId="ee5f09d5-0832-4e68-94c9-d8bfd2ad04f0" providerId="ADAL" clId="{D501E5E2-574F-6542-B665-A334471D5578}" dt="2023-12-18T16:39:40.060" v="9750" actId="478"/>
        <pc:sldMkLst>
          <pc:docMk/>
          <pc:sldMk cId="1135736597" sldId="273"/>
        </pc:sldMkLst>
        <pc:spChg chg="mod">
          <ac:chgData name="Luca Ricci" userId="ee5f09d5-0832-4e68-94c9-d8bfd2ad04f0" providerId="ADAL" clId="{D501E5E2-574F-6542-B665-A334471D5578}" dt="2023-12-18T15:21:52.006" v="8780" actId="20577"/>
          <ac:spMkLst>
            <pc:docMk/>
            <pc:sldMk cId="1135736597" sldId="273"/>
            <ac:spMk id="2" creationId="{96B142A3-3E18-4302-85FC-39EF0216B791}"/>
          </ac:spMkLst>
        </pc:spChg>
        <pc:spChg chg="del">
          <ac:chgData name="Luca Ricci" userId="ee5f09d5-0832-4e68-94c9-d8bfd2ad04f0" providerId="ADAL" clId="{D501E5E2-574F-6542-B665-A334471D5578}" dt="2023-12-18T13:30:57.690" v="7512" actId="478"/>
          <ac:spMkLst>
            <pc:docMk/>
            <pc:sldMk cId="1135736597" sldId="273"/>
            <ac:spMk id="3" creationId="{3EF73BAF-42A6-A010-727C-541101AEEB35}"/>
          </ac:spMkLst>
        </pc:spChg>
        <pc:spChg chg="del">
          <ac:chgData name="Luca Ricci" userId="ee5f09d5-0832-4e68-94c9-d8bfd2ad04f0" providerId="ADAL" clId="{D501E5E2-574F-6542-B665-A334471D5578}" dt="2023-12-18T13:30:50.709" v="7509" actId="478"/>
          <ac:spMkLst>
            <pc:docMk/>
            <pc:sldMk cId="1135736597" sldId="273"/>
            <ac:spMk id="4" creationId="{561FE2AF-2A52-3FD1-2F67-8A7460117B97}"/>
          </ac:spMkLst>
        </pc:spChg>
        <pc:spChg chg="del">
          <ac:chgData name="Luca Ricci" userId="ee5f09d5-0832-4e68-94c9-d8bfd2ad04f0" providerId="ADAL" clId="{D501E5E2-574F-6542-B665-A334471D5578}" dt="2023-12-18T13:31:00.336" v="7514" actId="478"/>
          <ac:spMkLst>
            <pc:docMk/>
            <pc:sldMk cId="1135736597" sldId="273"/>
            <ac:spMk id="5" creationId="{86FA4E78-D0A0-102A-FF33-4EE1591D4623}"/>
          </ac:spMkLst>
        </pc:spChg>
        <pc:spChg chg="del">
          <ac:chgData name="Luca Ricci" userId="ee5f09d5-0832-4e68-94c9-d8bfd2ad04f0" providerId="ADAL" clId="{D501E5E2-574F-6542-B665-A334471D5578}" dt="2023-12-18T13:31:01.475" v="7515" actId="478"/>
          <ac:spMkLst>
            <pc:docMk/>
            <pc:sldMk cId="1135736597" sldId="273"/>
            <ac:spMk id="6" creationId="{D51D789D-905C-86F5-C060-CF961C84F2C9}"/>
          </ac:spMkLst>
        </pc:spChg>
        <pc:spChg chg="del">
          <ac:chgData name="Luca Ricci" userId="ee5f09d5-0832-4e68-94c9-d8bfd2ad04f0" providerId="ADAL" clId="{D501E5E2-574F-6542-B665-A334471D5578}" dt="2023-12-18T13:30:53.685" v="7510" actId="478"/>
          <ac:spMkLst>
            <pc:docMk/>
            <pc:sldMk cId="1135736597" sldId="273"/>
            <ac:spMk id="7" creationId="{E215B337-F8D7-2B47-84CE-40B2CB2392D9}"/>
          </ac:spMkLst>
        </pc:spChg>
        <pc:spChg chg="del">
          <ac:chgData name="Luca Ricci" userId="ee5f09d5-0832-4e68-94c9-d8bfd2ad04f0" providerId="ADAL" clId="{D501E5E2-574F-6542-B665-A334471D5578}" dt="2023-12-18T13:30:55.182" v="7511" actId="478"/>
          <ac:spMkLst>
            <pc:docMk/>
            <pc:sldMk cId="1135736597" sldId="273"/>
            <ac:spMk id="8" creationId="{2D08BCDB-0C6F-8470-2862-04E3519D9D7B}"/>
          </ac:spMkLst>
        </pc:spChg>
        <pc:spChg chg="del">
          <ac:chgData name="Luca Ricci" userId="ee5f09d5-0832-4e68-94c9-d8bfd2ad04f0" providerId="ADAL" clId="{D501E5E2-574F-6542-B665-A334471D5578}" dt="2023-12-18T13:31:03.878" v="7516" actId="478"/>
          <ac:spMkLst>
            <pc:docMk/>
            <pc:sldMk cId="1135736597" sldId="273"/>
            <ac:spMk id="9" creationId="{849F5BBF-E0FE-92E0-9944-74364211B328}"/>
          </ac:spMkLst>
        </pc:spChg>
        <pc:spChg chg="mod">
          <ac:chgData name="Luca Ricci" userId="ee5f09d5-0832-4e68-94c9-d8bfd2ad04f0" providerId="ADAL" clId="{D501E5E2-574F-6542-B665-A334471D5578}" dt="2023-12-18T15:40:03.996" v="9161" actId="20577"/>
          <ac:spMkLst>
            <pc:docMk/>
            <pc:sldMk cId="1135736597" sldId="273"/>
            <ac:spMk id="10" creationId="{5A82A501-62D7-BA88-FCEA-42DF25F31526}"/>
          </ac:spMkLst>
        </pc:spChg>
        <pc:spChg chg="del">
          <ac:chgData name="Luca Ricci" userId="ee5f09d5-0832-4e68-94c9-d8bfd2ad04f0" providerId="ADAL" clId="{D501E5E2-574F-6542-B665-A334471D5578}" dt="2023-12-18T13:31:06.247" v="7517" actId="478"/>
          <ac:spMkLst>
            <pc:docMk/>
            <pc:sldMk cId="1135736597" sldId="273"/>
            <ac:spMk id="11" creationId="{3FD9809B-1D8D-A93F-0C0D-19CE6B065D65}"/>
          </ac:spMkLst>
        </pc:spChg>
        <pc:spChg chg="del">
          <ac:chgData name="Luca Ricci" userId="ee5f09d5-0832-4e68-94c9-d8bfd2ad04f0" providerId="ADAL" clId="{D501E5E2-574F-6542-B665-A334471D5578}" dt="2023-12-18T13:31:07.472" v="7518" actId="478"/>
          <ac:spMkLst>
            <pc:docMk/>
            <pc:sldMk cId="1135736597" sldId="273"/>
            <ac:spMk id="12" creationId="{AE118810-192C-E543-381D-FDFEFE17C593}"/>
          </ac:spMkLst>
        </pc:spChg>
        <pc:spChg chg="del">
          <ac:chgData name="Luca Ricci" userId="ee5f09d5-0832-4e68-94c9-d8bfd2ad04f0" providerId="ADAL" clId="{D501E5E2-574F-6542-B665-A334471D5578}" dt="2023-12-18T16:39:40.060" v="9750" actId="478"/>
          <ac:spMkLst>
            <pc:docMk/>
            <pc:sldMk cId="1135736597" sldId="273"/>
            <ac:spMk id="13" creationId="{09F14A1B-3DBC-2776-D40E-28CBC3DE563E}"/>
          </ac:spMkLst>
        </pc:spChg>
        <pc:spChg chg="del">
          <ac:chgData name="Luca Ricci" userId="ee5f09d5-0832-4e68-94c9-d8bfd2ad04f0" providerId="ADAL" clId="{D501E5E2-574F-6542-B665-A334471D5578}" dt="2023-12-18T13:30:58.571" v="7513" actId="478"/>
          <ac:spMkLst>
            <pc:docMk/>
            <pc:sldMk cId="1135736597" sldId="273"/>
            <ac:spMk id="14" creationId="{63BAE6FF-B12C-2A4D-2B25-8B4C96E7A85D}"/>
          </ac:spMkLst>
        </pc:spChg>
      </pc:sldChg>
      <pc:sldChg chg="addSp delSp modSp new del mod modClrScheme chgLayout">
        <pc:chgData name="Luca Ricci" userId="ee5f09d5-0832-4e68-94c9-d8bfd2ad04f0" providerId="ADAL" clId="{D501E5E2-574F-6542-B665-A334471D5578}" dt="2023-12-18T09:57:04.722" v="2238" actId="2696"/>
        <pc:sldMkLst>
          <pc:docMk/>
          <pc:sldMk cId="3563392032" sldId="273"/>
        </pc:sldMkLst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2" creationId="{EBFC613F-9523-E865-3D77-F65A65A85FA7}"/>
          </ac:spMkLst>
        </pc:spChg>
        <pc:spChg chg="del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3" creationId="{16D72495-105C-9B34-CD30-BE071D6897A5}"/>
          </ac:spMkLst>
        </pc:spChg>
        <pc:spChg chg="del 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4" creationId="{4DC53D6C-C3A5-3036-672D-996ADE10A242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5" creationId="{15B1AD4A-35AB-C1A2-6AE4-32425FF28BFE}"/>
          </ac:spMkLst>
        </pc:spChg>
        <pc:spChg chg="mod ord">
          <ac:chgData name="Luca Ricci" userId="ee5f09d5-0832-4e68-94c9-d8bfd2ad04f0" providerId="ADAL" clId="{D501E5E2-574F-6542-B665-A334471D5578}" dt="2023-12-18T09:56:07.427" v="2169" actId="700"/>
          <ac:spMkLst>
            <pc:docMk/>
            <pc:sldMk cId="3563392032" sldId="273"/>
            <ac:spMk id="6" creationId="{44DBE4D8-2277-1832-ECEE-1C4BC20FF5A4}"/>
          </ac:spMkLst>
        </pc:spChg>
        <pc:spChg chg="add mod ord">
          <ac:chgData name="Luca Ricci" userId="ee5f09d5-0832-4e68-94c9-d8bfd2ad04f0" providerId="ADAL" clId="{D501E5E2-574F-6542-B665-A334471D5578}" dt="2023-12-18T09:56:17.228" v="2187" actId="20577"/>
          <ac:spMkLst>
            <pc:docMk/>
            <pc:sldMk cId="3563392032" sldId="273"/>
            <ac:spMk id="7" creationId="{93C99CEA-9DE5-6FAD-2200-5D96CF3318D6}"/>
          </ac:spMkLst>
        </pc:spChg>
        <pc:spChg chg="add mod ord">
          <ac:chgData name="Luca Ricci" userId="ee5f09d5-0832-4e68-94c9-d8bfd2ad04f0" providerId="ADAL" clId="{D501E5E2-574F-6542-B665-A334471D5578}" dt="2023-12-18T09:56:43.702" v="2237" actId="20577"/>
          <ac:spMkLst>
            <pc:docMk/>
            <pc:sldMk cId="3563392032" sldId="273"/>
            <ac:spMk id="8" creationId="{4063DF65-C751-6223-0320-0ABC342D6873}"/>
          </ac:spMkLst>
        </pc:spChg>
      </pc:sldChg>
      <pc:sldChg chg="modSp new mod">
        <pc:chgData name="Luca Ricci" userId="ee5f09d5-0832-4e68-94c9-d8bfd2ad04f0" providerId="ADAL" clId="{D501E5E2-574F-6542-B665-A334471D5578}" dt="2023-12-18T18:17:55.569" v="11055" actId="313"/>
        <pc:sldMkLst>
          <pc:docMk/>
          <pc:sldMk cId="2968188460" sldId="274"/>
        </pc:sldMkLst>
        <pc:spChg chg="mod">
          <ac:chgData name="Luca Ricci" userId="ee5f09d5-0832-4e68-94c9-d8bfd2ad04f0" providerId="ADAL" clId="{D501E5E2-574F-6542-B665-A334471D5578}" dt="2023-12-18T18:17:55.569" v="11055" actId="313"/>
          <ac:spMkLst>
            <pc:docMk/>
            <pc:sldMk cId="2968188460" sldId="274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7:02:56.655" v="10333" actId="20577"/>
          <ac:spMkLst>
            <pc:docMk/>
            <pc:sldMk cId="2968188460" sldId="274"/>
            <ac:spMk id="3" creationId="{ACD80753-20DC-28DE-860C-EBBFE720783E}"/>
          </ac:spMkLst>
        </pc:spChg>
      </pc:sldChg>
      <pc:sldChg chg="modSp new del mod ord modShow">
        <pc:chgData name="Luca Ricci" userId="ee5f09d5-0832-4e68-94c9-d8bfd2ad04f0" providerId="ADAL" clId="{D501E5E2-574F-6542-B665-A334471D5578}" dt="2023-12-18T12:38:02.965" v="7148" actId="2696"/>
        <pc:sldMkLst>
          <pc:docMk/>
          <pc:sldMk cId="2821408771" sldId="275"/>
        </pc:sldMkLst>
        <pc:spChg chg="mod">
          <ac:chgData name="Luca Ricci" userId="ee5f09d5-0832-4e68-94c9-d8bfd2ad04f0" providerId="ADAL" clId="{D501E5E2-574F-6542-B665-A334471D5578}" dt="2023-12-18T10:36:59.879" v="5076" actId="20577"/>
          <ac:spMkLst>
            <pc:docMk/>
            <pc:sldMk cId="2821408771" sldId="275"/>
            <ac:spMk id="2" creationId="{D92DA106-FA14-6ECC-0FCA-6694E6A156AB}"/>
          </ac:spMkLst>
        </pc:spChg>
        <pc:spChg chg="mod">
          <ac:chgData name="Luca Ricci" userId="ee5f09d5-0832-4e68-94c9-d8bfd2ad04f0" providerId="ADAL" clId="{D501E5E2-574F-6542-B665-A334471D5578}" dt="2023-12-18T10:35:05.177" v="4867" actId="20577"/>
          <ac:spMkLst>
            <pc:docMk/>
            <pc:sldMk cId="2821408771" sldId="275"/>
            <ac:spMk id="3" creationId="{E4945D54-5D09-0051-78B4-FA7583C05688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8:15:49.461" v="11038" actId="1076"/>
        <pc:sldMkLst>
          <pc:docMk/>
          <pc:sldMk cId="2990945037" sldId="276"/>
        </pc:sldMkLst>
        <pc:spChg chg="mod ord">
          <ac:chgData name="Luca Ricci" userId="ee5f09d5-0832-4e68-94c9-d8bfd2ad04f0" providerId="ADAL" clId="{D501E5E2-574F-6542-B665-A334471D5578}" dt="2023-12-18T18:07:58.311" v="10941" actId="20577"/>
          <ac:spMkLst>
            <pc:docMk/>
            <pc:sldMk cId="2990945037" sldId="276"/>
            <ac:spMk id="2" creationId="{EE1181EE-E83B-E2B4-A8A2-9BD79BA62577}"/>
          </ac:spMkLst>
        </pc:spChg>
        <pc:spChg chg="mod ord">
          <ac:chgData name="Luca Ricci" userId="ee5f09d5-0832-4e68-94c9-d8bfd2ad04f0" providerId="ADAL" clId="{D501E5E2-574F-6542-B665-A334471D5578}" dt="2023-12-18T17:45:18.482" v="10533" actId="20577"/>
          <ac:spMkLst>
            <pc:docMk/>
            <pc:sldMk cId="2990945037" sldId="276"/>
            <ac:spMk id="3" creationId="{07C4FEEC-C7A9-340B-8522-6845D3F4141D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4" creationId="{E5A0E81E-6D21-B61E-5631-2BEC2A222BBF}"/>
          </ac:spMkLst>
        </pc:spChg>
        <pc:spChg chg="mod ord">
          <ac:chgData name="Luca Ricci" userId="ee5f09d5-0832-4e68-94c9-d8bfd2ad04f0" providerId="ADAL" clId="{D501E5E2-574F-6542-B665-A334471D5578}" dt="2023-12-18T13:58:12.718" v="7688" actId="700"/>
          <ac:spMkLst>
            <pc:docMk/>
            <pc:sldMk cId="2990945037" sldId="276"/>
            <ac:spMk id="5" creationId="{135546F5-012E-B2E0-37D5-9122D8A67012}"/>
          </ac:spMkLst>
        </pc:spChg>
        <pc:spChg chg="add del mod ord">
          <ac:chgData name="Luca Ricci" userId="ee5f09d5-0832-4e68-94c9-d8bfd2ad04f0" providerId="ADAL" clId="{D501E5E2-574F-6542-B665-A334471D5578}" dt="2023-12-18T18:05:57.120" v="10931" actId="931"/>
          <ac:spMkLst>
            <pc:docMk/>
            <pc:sldMk cId="2990945037" sldId="276"/>
            <ac:spMk id="6" creationId="{06F0CF48-24D4-ED7F-05FF-27F302068672}"/>
          </ac:spMkLst>
        </pc:spChg>
        <pc:spChg chg="add mod">
          <ac:chgData name="Luca Ricci" userId="ee5f09d5-0832-4e68-94c9-d8bfd2ad04f0" providerId="ADAL" clId="{D501E5E2-574F-6542-B665-A334471D5578}" dt="2023-12-18T18:15:49.461" v="11038" actId="1076"/>
          <ac:spMkLst>
            <pc:docMk/>
            <pc:sldMk cId="2990945037" sldId="276"/>
            <ac:spMk id="9" creationId="{2B908192-E5D1-45BD-65EF-316598CA9512}"/>
          </ac:spMkLst>
        </pc:spChg>
        <pc:picChg chg="add mod">
          <ac:chgData name="Luca Ricci" userId="ee5f09d5-0832-4e68-94c9-d8bfd2ad04f0" providerId="ADAL" clId="{D501E5E2-574F-6542-B665-A334471D5578}" dt="2023-12-18T18:06:36.956" v="10938" actId="1076"/>
          <ac:picMkLst>
            <pc:docMk/>
            <pc:sldMk cId="2990945037" sldId="276"/>
            <ac:picMk id="8" creationId="{8B5AF5C9-B484-5967-A46F-F80097891166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59:22.101" v="10276" actId="2696"/>
        <pc:sldMkLst>
          <pc:docMk/>
          <pc:sldMk cId="1441321396" sldId="277"/>
        </pc:sldMkLst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2" creationId="{10D35C28-7BEA-C8C3-2F6A-2AB96A4F5636}"/>
          </ac:spMkLst>
        </pc:spChg>
        <pc:spChg chg="del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3" creationId="{8D55E12B-0175-BE86-A6A8-FFA16CD88C4E}"/>
          </ac:spMkLst>
        </pc:spChg>
        <pc:spChg chg="del 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4" creationId="{16CF110B-59A0-3EEC-CC69-465ED0B15B2E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3:36:38.454" v="7532" actId="700"/>
          <ac:spMkLst>
            <pc:docMk/>
            <pc:sldMk cId="1441321396" sldId="277"/>
            <ac:spMk id="6" creationId="{05284F73-5454-3A31-9518-8B0D121C3D2B}"/>
          </ac:spMkLst>
        </pc:spChg>
        <pc:spChg chg="add mod ord">
          <ac:chgData name="Luca Ricci" userId="ee5f09d5-0832-4e68-94c9-d8bfd2ad04f0" providerId="ADAL" clId="{D501E5E2-574F-6542-B665-A334471D5578}" dt="2023-12-18T16:32:49.707" v="9515" actId="20577"/>
          <ac:spMkLst>
            <pc:docMk/>
            <pc:sldMk cId="1441321396" sldId="277"/>
            <ac:spMk id="7" creationId="{45E90837-93DC-263A-637E-73E06C23CFAC}"/>
          </ac:spMkLst>
        </pc:spChg>
        <pc:spChg chg="add mod ord">
          <ac:chgData name="Luca Ricci" userId="ee5f09d5-0832-4e68-94c9-d8bfd2ad04f0" providerId="ADAL" clId="{D501E5E2-574F-6542-B665-A334471D5578}" dt="2023-12-18T15:41:03.045" v="9168" actId="20577"/>
          <ac:spMkLst>
            <pc:docMk/>
            <pc:sldMk cId="1441321396" sldId="277"/>
            <ac:spMk id="8" creationId="{1FDF8926-1A71-B433-141E-DFE40C5AA871}"/>
          </ac:spMkLst>
        </pc:spChg>
      </pc:sldChg>
      <pc:sldChg chg="addSp delSp modSp new mod modClrScheme chgLayout">
        <pc:chgData name="Luca Ricci" userId="ee5f09d5-0832-4e68-94c9-d8bfd2ad04f0" providerId="ADAL" clId="{D501E5E2-574F-6542-B665-A334471D5578}" dt="2023-12-18T16:52:09.850" v="10235" actId="20577"/>
        <pc:sldMkLst>
          <pc:docMk/>
          <pc:sldMk cId="4189800304" sldId="278"/>
        </pc:sldMkLst>
        <pc:spChg chg="del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2" creationId="{03CBAEEE-1DCC-183C-92D4-5C8230EA65EE}"/>
          </ac:spMkLst>
        </pc:spChg>
        <pc:spChg chg="del 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3" creationId="{2EEEEEBE-81B5-B39B-25B2-144331766974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4" creationId="{BBCFA58C-3B32-944C-17DC-7DF429B8B8BE}"/>
          </ac:spMkLst>
        </pc:spChg>
        <pc:spChg chg="mod ord">
          <ac:chgData name="Luca Ricci" userId="ee5f09d5-0832-4e68-94c9-d8bfd2ad04f0" providerId="ADAL" clId="{D501E5E2-574F-6542-B665-A334471D5578}" dt="2023-12-18T13:44:35.520" v="7555" actId="700"/>
          <ac:spMkLst>
            <pc:docMk/>
            <pc:sldMk cId="4189800304" sldId="278"/>
            <ac:spMk id="5" creationId="{DD6E35ED-C859-283A-3E1E-8BD61035E2C9}"/>
          </ac:spMkLst>
        </pc:spChg>
        <pc:spChg chg="add mod ord">
          <ac:chgData name="Luca Ricci" userId="ee5f09d5-0832-4e68-94c9-d8bfd2ad04f0" providerId="ADAL" clId="{D501E5E2-574F-6542-B665-A334471D5578}" dt="2023-12-18T16:52:09.850" v="10235" actId="20577"/>
          <ac:spMkLst>
            <pc:docMk/>
            <pc:sldMk cId="4189800304" sldId="278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00.363" v="7598" actId="20577"/>
        <pc:sldMkLst>
          <pc:docMk/>
          <pc:sldMk cId="304618885" sldId="279"/>
        </pc:sldMkLst>
        <pc:spChg chg="mod">
          <ac:chgData name="Luca Ricci" userId="ee5f09d5-0832-4e68-94c9-d8bfd2ad04f0" providerId="ADAL" clId="{D501E5E2-574F-6542-B665-A334471D5578}" dt="2023-12-18T13:45:00.363" v="7598" actId="20577"/>
          <ac:spMkLst>
            <pc:docMk/>
            <pc:sldMk cId="304618885" sldId="279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16.801" v="7612" actId="20577"/>
        <pc:sldMkLst>
          <pc:docMk/>
          <pc:sldMk cId="3605496133" sldId="280"/>
        </pc:sldMkLst>
        <pc:spChg chg="mod">
          <ac:chgData name="Luca Ricci" userId="ee5f09d5-0832-4e68-94c9-d8bfd2ad04f0" providerId="ADAL" clId="{D501E5E2-574F-6542-B665-A334471D5578}" dt="2023-12-18T13:45:16.801" v="7612" actId="20577"/>
          <ac:spMkLst>
            <pc:docMk/>
            <pc:sldMk cId="3605496133" sldId="280"/>
            <ac:spMk id="6" creationId="{F01F8D75-610D-7A0C-3038-89746C951975}"/>
          </ac:spMkLst>
        </pc:spChg>
      </pc:sldChg>
      <pc:sldChg chg="modSp add mod">
        <pc:chgData name="Luca Ricci" userId="ee5f09d5-0832-4e68-94c9-d8bfd2ad04f0" providerId="ADAL" clId="{D501E5E2-574F-6542-B665-A334471D5578}" dt="2023-12-18T13:45:39.844" v="7633" actId="20577"/>
        <pc:sldMkLst>
          <pc:docMk/>
          <pc:sldMk cId="335704528" sldId="281"/>
        </pc:sldMkLst>
        <pc:spChg chg="mod">
          <ac:chgData name="Luca Ricci" userId="ee5f09d5-0832-4e68-94c9-d8bfd2ad04f0" providerId="ADAL" clId="{D501E5E2-574F-6542-B665-A334471D5578}" dt="2023-12-18T13:45:39.844" v="7633" actId="20577"/>
          <ac:spMkLst>
            <pc:docMk/>
            <pc:sldMk cId="335704528" sldId="281"/>
            <ac:spMk id="6" creationId="{F01F8D75-610D-7A0C-3038-89746C951975}"/>
          </ac:spMkLst>
        </pc:spChg>
      </pc:sldChg>
      <pc:sldChg chg="addSp modSp new mod ord">
        <pc:chgData name="Luca Ricci" userId="ee5f09d5-0832-4e68-94c9-d8bfd2ad04f0" providerId="ADAL" clId="{D501E5E2-574F-6542-B665-A334471D5578}" dt="2023-12-18T18:16:36.935" v="11044" actId="20577"/>
        <pc:sldMkLst>
          <pc:docMk/>
          <pc:sldMk cId="2523226674" sldId="282"/>
        </pc:sldMkLst>
        <pc:spChg chg="mod">
          <ac:chgData name="Luca Ricci" userId="ee5f09d5-0832-4e68-94c9-d8bfd2ad04f0" providerId="ADAL" clId="{D501E5E2-574F-6542-B665-A334471D5578}" dt="2023-12-18T17:51:13.830" v="10919" actId="20577"/>
          <ac:spMkLst>
            <pc:docMk/>
            <pc:sldMk cId="2523226674" sldId="282"/>
            <ac:spMk id="2" creationId="{8386E694-5EF7-1618-ACF4-DC987BEF617D}"/>
          </ac:spMkLst>
        </pc:spChg>
        <pc:spChg chg="mod">
          <ac:chgData name="Luca Ricci" userId="ee5f09d5-0832-4e68-94c9-d8bfd2ad04f0" providerId="ADAL" clId="{D501E5E2-574F-6542-B665-A334471D5578}" dt="2023-12-18T18:16:36.935" v="11044" actId="20577"/>
          <ac:spMkLst>
            <pc:docMk/>
            <pc:sldMk cId="2523226674" sldId="282"/>
            <ac:spMk id="3" creationId="{01D288B1-15CE-766C-62CA-8CB12FDF2102}"/>
          </ac:spMkLst>
        </pc:spChg>
        <pc:graphicFrameChg chg="add mod modGraphic">
          <ac:chgData name="Luca Ricci" userId="ee5f09d5-0832-4e68-94c9-d8bfd2ad04f0" providerId="ADAL" clId="{D501E5E2-574F-6542-B665-A334471D5578}" dt="2023-12-18T17:56:05.415" v="10924" actId="1076"/>
          <ac:graphicFrameMkLst>
            <pc:docMk/>
            <pc:sldMk cId="2523226674" sldId="282"/>
            <ac:graphicFrameMk id="6" creationId="{8A327F37-EAAA-5135-6A38-15567E3115EA}"/>
          </ac:graphicFrameMkLst>
        </pc:graphicFrameChg>
      </pc:sldChg>
      <pc:sldChg chg="addSp delSp modSp add mod modClrScheme chgLayout">
        <pc:chgData name="Luca Ricci" userId="ee5f09d5-0832-4e68-94c9-d8bfd2ad04f0" providerId="ADAL" clId="{D501E5E2-574F-6542-B665-A334471D5578}" dt="2023-12-18T18:12:30.611" v="11007" actId="20577"/>
        <pc:sldMkLst>
          <pc:docMk/>
          <pc:sldMk cId="2709073556" sldId="283"/>
        </pc:sldMkLst>
        <pc:spChg chg="add del mod ord">
          <ac:chgData name="Luca Ricci" userId="ee5f09d5-0832-4e68-94c9-d8bfd2ad04f0" providerId="ADAL" clId="{D501E5E2-574F-6542-B665-A334471D5578}" dt="2023-12-18T16:59:37.367" v="10277" actId="478"/>
          <ac:spMkLst>
            <pc:docMk/>
            <pc:sldMk cId="2709073556" sldId="283"/>
            <ac:spMk id="2" creationId="{0E2AD25D-C553-7C8F-6773-356419E96625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2:44.404" v="8434" actId="700"/>
          <ac:spMkLst>
            <pc:docMk/>
            <pc:sldMk cId="2709073556" sldId="283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8:12:30.611" v="11007" actId="20577"/>
          <ac:spMkLst>
            <pc:docMk/>
            <pc:sldMk cId="2709073556" sldId="283"/>
            <ac:spMk id="7" creationId="{45E90837-93DC-263A-637E-73E06C23CFAC}"/>
          </ac:spMkLst>
        </pc:spChg>
        <pc:spChg chg="mod ord">
          <ac:chgData name="Luca Ricci" userId="ee5f09d5-0832-4e68-94c9-d8bfd2ad04f0" providerId="ADAL" clId="{D501E5E2-574F-6542-B665-A334471D5578}" dt="2023-12-18T15:11:36.185" v="8654" actId="20577"/>
          <ac:spMkLst>
            <pc:docMk/>
            <pc:sldMk cId="2709073556" sldId="283"/>
            <ac:spMk id="8" creationId="{1FDF8926-1A71-B433-141E-DFE40C5AA871}"/>
          </ac:spMkLst>
        </pc:spChg>
      </pc:sldChg>
      <pc:sldChg chg="addSp delSp modSp add del mod modClrScheme chgLayout">
        <pc:chgData name="Luca Ricci" userId="ee5f09d5-0832-4e68-94c9-d8bfd2ad04f0" providerId="ADAL" clId="{D501E5E2-574F-6542-B665-A334471D5578}" dt="2023-12-18T14:46:22.854" v="8486" actId="2696"/>
        <pc:sldMkLst>
          <pc:docMk/>
          <pc:sldMk cId="115516131" sldId="284"/>
        </pc:sldMkLst>
        <pc:spChg chg="add del mod ord">
          <ac:chgData name="Luca Ricci" userId="ee5f09d5-0832-4e68-94c9-d8bfd2ad04f0" providerId="ADAL" clId="{D501E5E2-574F-6542-B665-A334471D5578}" dt="2023-12-18T14:44:45.768" v="8467" actId="1076"/>
          <ac:spMkLst>
            <pc:docMk/>
            <pc:sldMk cId="115516131" sldId="284"/>
            <ac:spMk id="2" creationId="{9330A689-5969-4492-9955-95B2173CF5E7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5" creationId="{BF713C4A-3C6F-723F-2F39-B89A8E786379}"/>
          </ac:spMkLst>
        </pc:spChg>
        <pc:spChg chg="mod ord">
          <ac:chgData name="Luca Ricci" userId="ee5f09d5-0832-4e68-94c9-d8bfd2ad04f0" providerId="ADAL" clId="{D501E5E2-574F-6542-B665-A334471D5578}" dt="2023-12-18T14:43:26.666" v="8451" actId="700"/>
          <ac:spMkLst>
            <pc:docMk/>
            <pc:sldMk cId="115516131" sldId="284"/>
            <ac:spMk id="6" creationId="{05284F73-5454-3A31-9518-8B0D121C3D2B}"/>
          </ac:spMkLst>
        </pc:spChg>
        <pc:spChg chg="mod ord">
          <ac:chgData name="Luca Ricci" userId="ee5f09d5-0832-4e68-94c9-d8bfd2ad04f0" providerId="ADAL" clId="{D501E5E2-574F-6542-B665-A334471D5578}" dt="2023-12-18T14:45:01.772" v="8470" actId="20577"/>
          <ac:spMkLst>
            <pc:docMk/>
            <pc:sldMk cId="115516131" sldId="284"/>
            <ac:spMk id="7" creationId="{45E90837-93DC-263A-637E-73E06C23CFAC}"/>
          </ac:spMkLst>
        </pc:spChg>
        <pc:spChg chg="del mod ord">
          <ac:chgData name="Luca Ricci" userId="ee5f09d5-0832-4e68-94c9-d8bfd2ad04f0" providerId="ADAL" clId="{D501E5E2-574F-6542-B665-A334471D5578}" dt="2023-12-18T14:44:08.432" v="8462" actId="478"/>
          <ac:spMkLst>
            <pc:docMk/>
            <pc:sldMk cId="115516131" sldId="284"/>
            <ac:spMk id="8" creationId="{1FDF8926-1A71-B433-141E-DFE40C5AA871}"/>
          </ac:spMkLst>
        </pc:spChg>
        <pc:spChg chg="add del mod">
          <ac:chgData name="Luca Ricci" userId="ee5f09d5-0832-4e68-94c9-d8bfd2ad04f0" providerId="ADAL" clId="{D501E5E2-574F-6542-B665-A334471D5578}" dt="2023-12-18T14:44:15.987" v="8463" actId="931"/>
          <ac:spMkLst>
            <pc:docMk/>
            <pc:sldMk cId="115516131" sldId="284"/>
            <ac:spMk id="10" creationId="{E8B96778-7694-4BA2-7C55-95EDCBB929C5}"/>
          </ac:spMkLst>
        </pc:spChg>
        <pc:picChg chg="add mod">
          <ac:chgData name="Luca Ricci" userId="ee5f09d5-0832-4e68-94c9-d8bfd2ad04f0" providerId="ADAL" clId="{D501E5E2-574F-6542-B665-A334471D5578}" dt="2023-12-18T14:43:57.027" v="8459" actId="931"/>
          <ac:picMkLst>
            <pc:docMk/>
            <pc:sldMk cId="115516131" sldId="284"/>
            <ac:picMk id="4" creationId="{DA3513E2-F125-260B-6DC7-3ECE2ADDF17D}"/>
          </ac:picMkLst>
        </pc:picChg>
        <pc:picChg chg="add mod">
          <ac:chgData name="Luca Ricci" userId="ee5f09d5-0832-4e68-94c9-d8bfd2ad04f0" providerId="ADAL" clId="{D501E5E2-574F-6542-B665-A334471D5578}" dt="2023-12-18T14:44:26.894" v="8466" actId="1076"/>
          <ac:picMkLst>
            <pc:docMk/>
            <pc:sldMk cId="115516131" sldId="284"/>
            <ac:picMk id="12" creationId="{36A28968-9076-A795-5DE3-D56DCCC6314C}"/>
          </ac:picMkLst>
        </pc:picChg>
      </pc:sldChg>
      <pc:sldChg chg="addSp delSp modSp add mod modClrScheme chgLayout">
        <pc:chgData name="Luca Ricci" userId="ee5f09d5-0832-4e68-94c9-d8bfd2ad04f0" providerId="ADAL" clId="{D501E5E2-574F-6542-B665-A334471D5578}" dt="2023-12-18T17:00:08.348" v="10284" actId="20577"/>
        <pc:sldMkLst>
          <pc:docMk/>
          <pc:sldMk cId="3067180519" sldId="284"/>
        </pc:sldMkLst>
        <pc:spChg chg="mod ord">
          <ac:chgData name="Luca Ricci" userId="ee5f09d5-0832-4e68-94c9-d8bfd2ad04f0" providerId="ADAL" clId="{D501E5E2-574F-6542-B665-A334471D5578}" dt="2023-12-18T17:00:08.348" v="10284" actId="20577"/>
          <ac:spMkLst>
            <pc:docMk/>
            <pc:sldMk cId="3067180519" sldId="284"/>
            <ac:spMk id="2" creationId="{96B142A3-3E18-4302-85FC-39EF0216B791}"/>
          </ac:spMkLst>
        </pc:spChg>
        <pc:spChg chg="add del mod">
          <ac:chgData name="Luca Ricci" userId="ee5f09d5-0832-4e68-94c9-d8bfd2ad04f0" providerId="ADAL" clId="{D501E5E2-574F-6542-B665-A334471D5578}" dt="2023-12-18T14:52:27.109" v="8495" actId="478"/>
          <ac:spMkLst>
            <pc:docMk/>
            <pc:sldMk cId="3067180519" sldId="284"/>
            <ac:spMk id="3" creationId="{8018C54F-F487-F048-D0F2-C28E84DCC4B9}"/>
          </ac:spMkLst>
        </pc:spChg>
        <pc:spChg chg="add del mod">
          <ac:chgData name="Luca Ricci" userId="ee5f09d5-0832-4e68-94c9-d8bfd2ad04f0" providerId="ADAL" clId="{D501E5E2-574F-6542-B665-A334471D5578}" dt="2023-12-18T14:54:54.981" v="8520" actId="931"/>
          <ac:spMkLst>
            <pc:docMk/>
            <pc:sldMk cId="3067180519" sldId="284"/>
            <ac:spMk id="5" creationId="{CB20D547-8C0C-C39B-D76C-DC706BF59521}"/>
          </ac:spMkLst>
        </pc:spChg>
        <pc:spChg chg="add mod">
          <ac:chgData name="Luca Ricci" userId="ee5f09d5-0832-4e68-94c9-d8bfd2ad04f0" providerId="ADAL" clId="{D501E5E2-574F-6542-B665-A334471D5578}" dt="2023-12-18T14:57:27.037" v="8549" actId="1076"/>
          <ac:spMkLst>
            <pc:docMk/>
            <pc:sldMk cId="3067180519" sldId="284"/>
            <ac:spMk id="8" creationId="{B4335C91-4C96-6D29-367B-868F995E5876}"/>
          </ac:spMkLst>
        </pc:spChg>
        <pc:spChg chg="add mod">
          <ac:chgData name="Luca Ricci" userId="ee5f09d5-0832-4e68-94c9-d8bfd2ad04f0" providerId="ADAL" clId="{D501E5E2-574F-6542-B665-A334471D5578}" dt="2023-12-18T15:16:08.016" v="8665" actId="1076"/>
          <ac:spMkLst>
            <pc:docMk/>
            <pc:sldMk cId="3067180519" sldId="284"/>
            <ac:spMk id="9" creationId="{08FB12AA-415E-766F-FA60-DFFB61A07CE6}"/>
          </ac:spMkLst>
        </pc:spChg>
        <pc:spChg chg="del mod">
          <ac:chgData name="Luca Ricci" userId="ee5f09d5-0832-4e68-94c9-d8bfd2ad04f0" providerId="ADAL" clId="{D501E5E2-574F-6542-B665-A334471D5578}" dt="2023-12-18T14:57:08.039" v="8544" actId="478"/>
          <ac:spMkLst>
            <pc:docMk/>
            <pc:sldMk cId="3067180519" sldId="284"/>
            <ac:spMk id="10" creationId="{5A82A501-62D7-BA88-FCEA-42DF25F31526}"/>
          </ac:spMkLst>
        </pc:spChg>
        <pc:spChg chg="add mod">
          <ac:chgData name="Luca Ricci" userId="ee5f09d5-0832-4e68-94c9-d8bfd2ad04f0" providerId="ADAL" clId="{D501E5E2-574F-6542-B665-A334471D5578}" dt="2023-12-18T15:16:06.290" v="8664" actId="1076"/>
          <ac:spMkLst>
            <pc:docMk/>
            <pc:sldMk cId="3067180519" sldId="284"/>
            <ac:spMk id="11" creationId="{3C8B4FD3-7100-3379-6BFC-F10B06623988}"/>
          </ac:spMkLst>
        </pc:spChg>
        <pc:spChg chg="add mod">
          <ac:chgData name="Luca Ricci" userId="ee5f09d5-0832-4e68-94c9-d8bfd2ad04f0" providerId="ADAL" clId="{D501E5E2-574F-6542-B665-A334471D5578}" dt="2023-12-18T14:57:46.248" v="8554" actId="1076"/>
          <ac:spMkLst>
            <pc:docMk/>
            <pc:sldMk cId="3067180519" sldId="284"/>
            <ac:spMk id="12" creationId="{385FE691-C6CA-4A9C-64AC-71CEDEBA8FD8}"/>
          </ac:spMkLst>
        </pc:spChg>
        <pc:spChg chg="add del mod">
          <ac:chgData name="Luca Ricci" userId="ee5f09d5-0832-4e68-94c9-d8bfd2ad04f0" providerId="ADAL" clId="{D501E5E2-574F-6542-B665-A334471D5578}" dt="2023-12-18T14:57:12.827" v="8545" actId="700"/>
          <ac:spMkLst>
            <pc:docMk/>
            <pc:sldMk cId="3067180519" sldId="284"/>
            <ac:spMk id="14" creationId="{0C04A4EA-3E36-156D-B0F7-3B51132B6E75}"/>
          </ac:spMkLst>
        </pc:spChg>
        <pc:spChg chg="add del mod">
          <ac:chgData name="Luca Ricci" userId="ee5f09d5-0832-4e68-94c9-d8bfd2ad04f0" providerId="ADAL" clId="{D501E5E2-574F-6542-B665-A334471D5578}" dt="2023-12-18T14:58:37.732" v="8577" actId="478"/>
          <ac:spMkLst>
            <pc:docMk/>
            <pc:sldMk cId="3067180519" sldId="284"/>
            <ac:spMk id="15" creationId="{A574FDDC-00C8-7A3C-322D-790D42F8459C}"/>
          </ac:spMkLst>
        </pc:spChg>
        <pc:spChg chg="add mod">
          <ac:chgData name="Luca Ricci" userId="ee5f09d5-0832-4e68-94c9-d8bfd2ad04f0" providerId="ADAL" clId="{D501E5E2-574F-6542-B665-A334471D5578}" dt="2023-12-18T14:58:36.489" v="8576" actId="1076"/>
          <ac:spMkLst>
            <pc:docMk/>
            <pc:sldMk cId="3067180519" sldId="284"/>
            <ac:spMk id="17" creationId="{6E6E657B-03B6-CD6E-C18A-A36B16B6166E}"/>
          </ac:spMkLst>
        </pc:spChg>
        <pc:spChg chg="add mod">
          <ac:chgData name="Luca Ricci" userId="ee5f09d5-0832-4e68-94c9-d8bfd2ad04f0" providerId="ADAL" clId="{D501E5E2-574F-6542-B665-A334471D5578}" dt="2023-12-18T15:41:49.380" v="9170" actId="1076"/>
          <ac:spMkLst>
            <pc:docMk/>
            <pc:sldMk cId="3067180519" sldId="284"/>
            <ac:spMk id="18" creationId="{EC14E028-47A8-3F77-E61A-A9C247CAE17A}"/>
          </ac:spMkLst>
        </pc:spChg>
        <pc:spChg chg="add mod">
          <ac:chgData name="Luca Ricci" userId="ee5f09d5-0832-4e68-94c9-d8bfd2ad04f0" providerId="ADAL" clId="{D501E5E2-574F-6542-B665-A334471D5578}" dt="2023-12-18T15:00:08.514" v="8588" actId="1076"/>
          <ac:spMkLst>
            <pc:docMk/>
            <pc:sldMk cId="3067180519" sldId="284"/>
            <ac:spMk id="19" creationId="{F7924BD0-A860-D75C-F27F-432350D356EF}"/>
          </ac:spMkLst>
        </pc:spChg>
        <pc:spChg chg="add mod">
          <ac:chgData name="Luca Ricci" userId="ee5f09d5-0832-4e68-94c9-d8bfd2ad04f0" providerId="ADAL" clId="{D501E5E2-574F-6542-B665-A334471D5578}" dt="2023-12-18T15:00:53.920" v="8600" actId="14100"/>
          <ac:spMkLst>
            <pc:docMk/>
            <pc:sldMk cId="3067180519" sldId="284"/>
            <ac:spMk id="20" creationId="{2F5F9B3C-0A22-8977-02F4-B7DC19A8CA13}"/>
          </ac:spMkLst>
        </pc:spChg>
        <pc:spChg chg="add mod">
          <ac:chgData name="Luca Ricci" userId="ee5f09d5-0832-4e68-94c9-d8bfd2ad04f0" providerId="ADAL" clId="{D501E5E2-574F-6542-B665-A334471D5578}" dt="2023-12-18T15:00:48.734" v="8599" actId="1076"/>
          <ac:spMkLst>
            <pc:docMk/>
            <pc:sldMk cId="3067180519" sldId="284"/>
            <ac:spMk id="21" creationId="{8E0EDE74-9318-2E12-4253-34A547DD9650}"/>
          </ac:spMkLst>
        </pc:spChg>
        <pc:spChg chg="add del mod">
          <ac:chgData name="Luca Ricci" userId="ee5f09d5-0832-4e68-94c9-d8bfd2ad04f0" providerId="ADAL" clId="{D501E5E2-574F-6542-B665-A334471D5578}" dt="2023-12-18T15:15:32.461" v="8658" actId="700"/>
          <ac:spMkLst>
            <pc:docMk/>
            <pc:sldMk cId="3067180519" sldId="284"/>
            <ac:spMk id="25" creationId="{08074358-603A-092C-DE84-E5810CE6204D}"/>
          </ac:spMkLst>
        </pc:spChg>
        <pc:spChg chg="add mod">
          <ac:chgData name="Luca Ricci" userId="ee5f09d5-0832-4e68-94c9-d8bfd2ad04f0" providerId="ADAL" clId="{D501E5E2-574F-6542-B665-A334471D5578}" dt="2023-12-18T15:16:23.454" v="8669" actId="1076"/>
          <ac:spMkLst>
            <pc:docMk/>
            <pc:sldMk cId="3067180519" sldId="284"/>
            <ac:spMk id="26" creationId="{8D070337-FA53-CE7E-31BC-94735CFCB9F9}"/>
          </ac:spMkLst>
        </pc:spChg>
        <pc:spChg chg="add mod">
          <ac:chgData name="Luca Ricci" userId="ee5f09d5-0832-4e68-94c9-d8bfd2ad04f0" providerId="ADAL" clId="{D501E5E2-574F-6542-B665-A334471D5578}" dt="2023-12-18T15:16:20.374" v="8668"/>
          <ac:spMkLst>
            <pc:docMk/>
            <pc:sldMk cId="3067180519" sldId="284"/>
            <ac:spMk id="27" creationId="{65A7E454-54FA-BF83-F5BD-7951A7BCA189}"/>
          </ac:spMkLst>
        </pc:spChg>
        <pc:spChg chg="add mod">
          <ac:chgData name="Luca Ricci" userId="ee5f09d5-0832-4e68-94c9-d8bfd2ad04f0" providerId="ADAL" clId="{D501E5E2-574F-6542-B665-A334471D5578}" dt="2023-12-18T15:16:48.542" v="8671" actId="1076"/>
          <ac:spMkLst>
            <pc:docMk/>
            <pc:sldMk cId="3067180519" sldId="284"/>
            <ac:spMk id="28" creationId="{85FE7B0F-336C-5474-8DA5-E45BFBD4847E}"/>
          </ac:spMkLst>
        </pc:spChg>
        <pc:spChg chg="add mod">
          <ac:chgData name="Luca Ricci" userId="ee5f09d5-0832-4e68-94c9-d8bfd2ad04f0" providerId="ADAL" clId="{D501E5E2-574F-6542-B665-A334471D5578}" dt="2023-12-18T15:18:00.680" v="8682" actId="1076"/>
          <ac:spMkLst>
            <pc:docMk/>
            <pc:sldMk cId="3067180519" sldId="284"/>
            <ac:spMk id="29" creationId="{09C60E09-80B1-1CE7-2BDA-49AC365FCB16}"/>
          </ac:spMkLst>
        </pc:spChg>
        <pc:spChg chg="add mod">
          <ac:chgData name="Luca Ricci" userId="ee5f09d5-0832-4e68-94c9-d8bfd2ad04f0" providerId="ADAL" clId="{D501E5E2-574F-6542-B665-A334471D5578}" dt="2023-12-18T15:41:52.753" v="9171" actId="1076"/>
          <ac:spMkLst>
            <pc:docMk/>
            <pc:sldMk cId="3067180519" sldId="284"/>
            <ac:spMk id="30" creationId="{942005E4-C945-D9E3-2D63-03456832886E}"/>
          </ac:spMkLst>
        </pc:spChg>
        <pc:picChg chg="add del mod ord">
          <ac:chgData name="Luca Ricci" userId="ee5f09d5-0832-4e68-94c9-d8bfd2ad04f0" providerId="ADAL" clId="{D501E5E2-574F-6542-B665-A334471D5578}" dt="2023-12-18T15:15:22.047" v="8657" actId="478"/>
          <ac:picMkLst>
            <pc:docMk/>
            <pc:sldMk cId="3067180519" sldId="284"/>
            <ac:picMk id="7" creationId="{A432BBB0-D5B9-B07F-DD00-F452DA1E23E0}"/>
          </ac:picMkLst>
        </pc:picChg>
        <pc:picChg chg="del">
          <ac:chgData name="Luca Ricci" userId="ee5f09d5-0832-4e68-94c9-d8bfd2ad04f0" providerId="ADAL" clId="{D501E5E2-574F-6542-B665-A334471D5578}" dt="2023-12-18T14:54:39.150" v="8519" actId="478"/>
          <ac:picMkLst>
            <pc:docMk/>
            <pc:sldMk cId="3067180519" sldId="284"/>
            <ac:picMk id="16" creationId="{69C012A2-2CBB-CC32-EDF2-0B6DFA6D9245}"/>
          </ac:picMkLst>
        </pc:picChg>
        <pc:picChg chg="add mod">
          <ac:chgData name="Luca Ricci" userId="ee5f09d5-0832-4e68-94c9-d8bfd2ad04f0" providerId="ADAL" clId="{D501E5E2-574F-6542-B665-A334471D5578}" dt="2023-12-18T15:15:58.229" v="8663" actId="1076"/>
          <ac:picMkLst>
            <pc:docMk/>
            <pc:sldMk cId="3067180519" sldId="284"/>
            <ac:picMk id="23" creationId="{76C3C410-CCB3-F38C-C2A9-B2A176F696DD}"/>
          </ac:picMkLst>
        </pc:picChg>
      </pc:sldChg>
      <pc:sldChg chg="addSp delSp modSp new mod modClrScheme chgLayout">
        <pc:chgData name="Luca Ricci" userId="ee5f09d5-0832-4e68-94c9-d8bfd2ad04f0" providerId="ADAL" clId="{D501E5E2-574F-6542-B665-A334471D5578}" dt="2023-12-18T17:01:18.783" v="10324" actId="20577"/>
        <pc:sldMkLst>
          <pc:docMk/>
          <pc:sldMk cId="4096381590" sldId="285"/>
        </pc:sldMkLst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2" creationId="{27353959-EBC4-689F-B90F-72FD4E26F624}"/>
          </ac:spMkLst>
        </pc:spChg>
        <pc:spChg chg="del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3" creationId="{DA3AE260-DA1B-23C1-A522-6EBA5B368ED0}"/>
          </ac:spMkLst>
        </pc:spChg>
        <pc:spChg chg="del mod ord">
          <ac:chgData name="Luca Ricci" userId="ee5f09d5-0832-4e68-94c9-d8bfd2ad04f0" providerId="ADAL" clId="{D501E5E2-574F-6542-B665-A334471D5578}" dt="2023-12-18T15:06:57.324" v="8601" actId="700"/>
          <ac:spMkLst>
            <pc:docMk/>
            <pc:sldMk cId="4096381590" sldId="285"/>
            <ac:spMk id="4" creationId="{855EAD17-B90F-F299-5F24-DF716233E0C5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5" creationId="{BF8D9A4E-3C0D-8065-0784-B25B4B7E4853}"/>
          </ac:spMkLst>
        </pc:spChg>
        <pc:spChg chg="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6" creationId="{B15837DB-C21D-7710-3A22-092C9B85D619}"/>
          </ac:spMkLst>
        </pc:spChg>
        <pc:spChg chg="add del mod ord">
          <ac:chgData name="Luca Ricci" userId="ee5f09d5-0832-4e68-94c9-d8bfd2ad04f0" providerId="ADAL" clId="{D501E5E2-574F-6542-B665-A334471D5578}" dt="2023-12-18T15:07:00.129" v="8602" actId="700"/>
          <ac:spMkLst>
            <pc:docMk/>
            <pc:sldMk cId="4096381590" sldId="285"/>
            <ac:spMk id="7" creationId="{6690EEAA-779C-E791-DDB3-875BC03AA9CC}"/>
          </ac:spMkLst>
        </pc:spChg>
        <pc:spChg chg="add mod ord">
          <ac:chgData name="Luca Ricci" userId="ee5f09d5-0832-4e68-94c9-d8bfd2ad04f0" providerId="ADAL" clId="{D501E5E2-574F-6542-B665-A334471D5578}" dt="2023-12-18T17:00:33.351" v="10302" actId="20577"/>
          <ac:spMkLst>
            <pc:docMk/>
            <pc:sldMk cId="4096381590" sldId="285"/>
            <ac:spMk id="8" creationId="{D2C75C14-A911-C389-6154-8D4483E3A06D}"/>
          </ac:spMkLst>
        </pc:spChg>
        <pc:spChg chg="add del mod ord">
          <ac:chgData name="Luca Ricci" userId="ee5f09d5-0832-4e68-94c9-d8bfd2ad04f0" providerId="ADAL" clId="{D501E5E2-574F-6542-B665-A334471D5578}" dt="2023-12-18T15:07:25.343" v="8626" actId="931"/>
          <ac:spMkLst>
            <pc:docMk/>
            <pc:sldMk cId="4096381590" sldId="285"/>
            <ac:spMk id="9" creationId="{0610D3B9-3E33-168A-7513-75513A9C3F81}"/>
          </ac:spMkLst>
        </pc:spChg>
        <pc:spChg chg="add del mod">
          <ac:chgData name="Luca Ricci" userId="ee5f09d5-0832-4e68-94c9-d8bfd2ad04f0" providerId="ADAL" clId="{D501E5E2-574F-6542-B665-A334471D5578}" dt="2023-12-18T15:08:06.834" v="8632" actId="478"/>
          <ac:spMkLst>
            <pc:docMk/>
            <pc:sldMk cId="4096381590" sldId="285"/>
            <ac:spMk id="12" creationId="{4216D693-D330-D707-DC37-9EC364EDAE86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3" creationId="{D75B17AE-BA3E-436A-071D-4B071130CBF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4" creationId="{5C5F0634-FE9D-D290-8166-364060948F8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5" creationId="{521532A9-523F-99ED-5939-21A7E6E5666D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6" creationId="{DBBBBEF7-C06B-C652-A92A-D546FD7BB3AC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7" creationId="{767EAA32-3809-8A3D-A9BD-E4D2FAA894E4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8" creationId="{B452B91A-3ECE-59CC-B6F2-0B27BA54EDE0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19" creationId="{A151F020-1ECC-16CD-F597-6966B15F85FE}"/>
          </ac:spMkLst>
        </pc:spChg>
        <pc:spChg chg="add mod">
          <ac:chgData name="Luca Ricci" userId="ee5f09d5-0832-4e68-94c9-d8bfd2ad04f0" providerId="ADAL" clId="{D501E5E2-574F-6542-B665-A334471D5578}" dt="2023-12-18T17:00:59.899" v="10305" actId="1076"/>
          <ac:spMkLst>
            <pc:docMk/>
            <pc:sldMk cId="4096381590" sldId="285"/>
            <ac:spMk id="20" creationId="{E0550366-571B-A409-6ADA-C63F55724987}"/>
          </ac:spMkLst>
        </pc:spChg>
        <pc:spChg chg="add mod">
          <ac:chgData name="Luca Ricci" userId="ee5f09d5-0832-4e68-94c9-d8bfd2ad04f0" providerId="ADAL" clId="{D501E5E2-574F-6542-B665-A334471D5578}" dt="2023-12-18T17:01:18.783" v="10324" actId="20577"/>
          <ac:spMkLst>
            <pc:docMk/>
            <pc:sldMk cId="4096381590" sldId="285"/>
            <ac:spMk id="21" creationId="{52A12BF5-E93B-31F3-D250-9B4517CF2987}"/>
          </ac:spMkLst>
        </pc:spChg>
        <pc:picChg chg="add mod">
          <ac:chgData name="Luca Ricci" userId="ee5f09d5-0832-4e68-94c9-d8bfd2ad04f0" providerId="ADAL" clId="{D501E5E2-574F-6542-B665-A334471D5578}" dt="2023-12-18T17:00:59.899" v="10305" actId="1076"/>
          <ac:picMkLst>
            <pc:docMk/>
            <pc:sldMk cId="4096381590" sldId="285"/>
            <ac:picMk id="11" creationId="{4C4491E1-C44C-3A82-E919-1956AB6DFFE6}"/>
          </ac:picMkLst>
        </pc:picChg>
      </pc:sldChg>
      <pc:sldChg chg="modSp new del mod">
        <pc:chgData name="Luca Ricci" userId="ee5f09d5-0832-4e68-94c9-d8bfd2ad04f0" providerId="ADAL" clId="{D501E5E2-574F-6542-B665-A334471D5578}" dt="2023-12-18T16:01:13.268" v="9380" actId="2696"/>
        <pc:sldMkLst>
          <pc:docMk/>
          <pc:sldMk cId="1698397760" sldId="286"/>
        </pc:sldMkLst>
        <pc:spChg chg="mod">
          <ac:chgData name="Luca Ricci" userId="ee5f09d5-0832-4e68-94c9-d8bfd2ad04f0" providerId="ADAL" clId="{D501E5E2-574F-6542-B665-A334471D5578}" dt="2023-12-18T15:20:08.755" v="8768" actId="20577"/>
          <ac:spMkLst>
            <pc:docMk/>
            <pc:sldMk cId="1698397760" sldId="286"/>
            <ac:spMk id="3" creationId="{7B4FDE7C-47A9-63A2-2261-EB6861658F85}"/>
          </ac:spMkLst>
        </pc:spChg>
      </pc:sldChg>
      <pc:sldChg chg="modSp mod">
        <pc:chgData name="Luca Ricci" userId="ee5f09d5-0832-4e68-94c9-d8bfd2ad04f0" providerId="ADAL" clId="{D501E5E2-574F-6542-B665-A334471D5578}" dt="2023-12-18T16:53:50.702" v="10236" actId="20577"/>
        <pc:sldMkLst>
          <pc:docMk/>
          <pc:sldMk cId="4187071354" sldId="287"/>
        </pc:sldMkLst>
        <pc:spChg chg="mod">
          <ac:chgData name="Luca Ricci" userId="ee5f09d5-0832-4e68-94c9-d8bfd2ad04f0" providerId="ADAL" clId="{D501E5E2-574F-6542-B665-A334471D5578}" dt="2023-12-18T16:53:50.702" v="10236" actId="20577"/>
          <ac:spMkLst>
            <pc:docMk/>
            <pc:sldMk cId="4187071354" sldId="287"/>
            <ac:spMk id="7" creationId="{1831B4C8-BE7C-5A59-D3B4-3B0DC386F8C3}"/>
          </ac:spMkLst>
        </pc:spChg>
      </pc:sldChg>
      <pc:sldChg chg="addSp delSp modSp new mod">
        <pc:chgData name="Luca Ricci" userId="ee5f09d5-0832-4e68-94c9-d8bfd2ad04f0" providerId="ADAL" clId="{D501E5E2-574F-6542-B665-A334471D5578}" dt="2023-12-18T18:09:31.388" v="10959" actId="14100"/>
        <pc:sldMkLst>
          <pc:docMk/>
          <pc:sldMk cId="1947591369" sldId="288"/>
        </pc:sldMkLst>
        <pc:spChg chg="del">
          <ac:chgData name="Luca Ricci" userId="ee5f09d5-0832-4e68-94c9-d8bfd2ad04f0" providerId="ADAL" clId="{D501E5E2-574F-6542-B665-A334471D5578}" dt="2023-12-18T17:28:54.237" v="10344" actId="931"/>
          <ac:spMkLst>
            <pc:docMk/>
            <pc:sldMk cId="1947591369" sldId="288"/>
            <ac:spMk id="2" creationId="{DA3D7461-26A4-74B4-1CDE-9EE14EAD45CA}"/>
          </ac:spMkLst>
        </pc:spChg>
        <pc:spChg chg="mod">
          <ac:chgData name="Luca Ricci" userId="ee5f09d5-0832-4e68-94c9-d8bfd2ad04f0" providerId="ADAL" clId="{D501E5E2-574F-6542-B665-A334471D5578}" dt="2023-12-18T15:51:16.732" v="9281" actId="20577"/>
          <ac:spMkLst>
            <pc:docMk/>
            <pc:sldMk cId="1947591369" sldId="288"/>
            <ac:spMk id="3" creationId="{90402BD7-E357-89B2-9EF8-AEC90DF0ACA4}"/>
          </ac:spMkLst>
        </pc:spChg>
        <pc:spChg chg="add mod">
          <ac:chgData name="Luca Ricci" userId="ee5f09d5-0832-4e68-94c9-d8bfd2ad04f0" providerId="ADAL" clId="{D501E5E2-574F-6542-B665-A334471D5578}" dt="2023-12-18T18:09:31.388" v="10959" actId="14100"/>
          <ac:spMkLst>
            <pc:docMk/>
            <pc:sldMk cId="1947591369" sldId="288"/>
            <ac:spMk id="10" creationId="{C179F220-A824-3D78-5583-0A42423934EB}"/>
          </ac:spMkLst>
        </pc:spChg>
        <pc:picChg chg="add mod">
          <ac:chgData name="Luca Ricci" userId="ee5f09d5-0832-4e68-94c9-d8bfd2ad04f0" providerId="ADAL" clId="{D501E5E2-574F-6542-B665-A334471D5578}" dt="2023-12-18T17:37:30.974" v="10372" actId="14826"/>
          <ac:picMkLst>
            <pc:docMk/>
            <pc:sldMk cId="1947591369" sldId="288"/>
            <ac:picMk id="7" creationId="{CF4F1177-8FF5-2D4F-6FD9-80230769F509}"/>
          </ac:picMkLst>
        </pc:picChg>
        <pc:picChg chg="add mod">
          <ac:chgData name="Luca Ricci" userId="ee5f09d5-0832-4e68-94c9-d8bfd2ad04f0" providerId="ADAL" clId="{D501E5E2-574F-6542-B665-A334471D5578}" dt="2023-12-18T17:32:47.101" v="10367" actId="1076"/>
          <ac:picMkLst>
            <pc:docMk/>
            <pc:sldMk cId="1947591369" sldId="288"/>
            <ac:picMk id="9" creationId="{1F81E7B1-F70F-7749-DFFA-338F32E41C57}"/>
          </ac:picMkLst>
        </pc:picChg>
      </pc:sldChg>
      <pc:sldChg chg="addSp delSp modSp new del mod modClrScheme chgLayout">
        <pc:chgData name="Luca Ricci" userId="ee5f09d5-0832-4e68-94c9-d8bfd2ad04f0" providerId="ADAL" clId="{D501E5E2-574F-6542-B665-A334471D5578}" dt="2023-12-18T16:34:48.394" v="9628" actId="2696"/>
        <pc:sldMkLst>
          <pc:docMk/>
          <pc:sldMk cId="316799199" sldId="289"/>
        </pc:sldMkLst>
        <pc:spChg chg="del mod ord">
          <ac:chgData name="Luca Ricci" userId="ee5f09d5-0832-4e68-94c9-d8bfd2ad04f0" providerId="ADAL" clId="{D501E5E2-574F-6542-B665-A334471D5578}" dt="2023-12-18T16:33:32.847" v="9517" actId="700"/>
          <ac:spMkLst>
            <pc:docMk/>
            <pc:sldMk cId="316799199" sldId="289"/>
            <ac:spMk id="2" creationId="{FFC2848C-0F19-5565-FFF2-4E47B09EE352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3" creationId="{7325A60B-743D-076B-4098-6D2C66C478C6}"/>
          </ac:spMkLst>
        </pc:spChg>
        <pc:spChg chg="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4" creationId="{2C4FCAF9-13BC-F05E-C96C-38C78823DDDE}"/>
          </ac:spMkLst>
        </pc:spChg>
        <pc:spChg chg="add del mod ord">
          <ac:chgData name="Luca Ricci" userId="ee5f09d5-0832-4e68-94c9-d8bfd2ad04f0" providerId="ADAL" clId="{D501E5E2-574F-6542-B665-A334471D5578}" dt="2023-12-18T16:33:37.514" v="9518" actId="700"/>
          <ac:spMkLst>
            <pc:docMk/>
            <pc:sldMk cId="316799199" sldId="289"/>
            <ac:spMk id="5" creationId="{C26E123C-B9A5-349F-FFBD-2780E1FA806A}"/>
          </ac:spMkLst>
        </pc:spChg>
        <pc:spChg chg="add mod ord">
          <ac:chgData name="Luca Ricci" userId="ee5f09d5-0832-4e68-94c9-d8bfd2ad04f0" providerId="ADAL" clId="{D501E5E2-574F-6542-B665-A334471D5578}" dt="2023-12-18T16:33:40.334" v="9522" actId="20577"/>
          <ac:spMkLst>
            <pc:docMk/>
            <pc:sldMk cId="316799199" sldId="289"/>
            <ac:spMk id="6" creationId="{F882F5DE-38BE-2E6C-0AA3-E43C0285B4A9}"/>
          </ac:spMkLst>
        </pc:spChg>
        <pc:spChg chg="add mod ord">
          <ac:chgData name="Luca Ricci" userId="ee5f09d5-0832-4e68-94c9-d8bfd2ad04f0" providerId="ADAL" clId="{D501E5E2-574F-6542-B665-A334471D5578}" dt="2023-12-18T16:34:20.762" v="9627" actId="20577"/>
          <ac:spMkLst>
            <pc:docMk/>
            <pc:sldMk cId="316799199" sldId="289"/>
            <ac:spMk id="7" creationId="{3B2F9DA6-156E-2EFC-C417-59358D893411}"/>
          </ac:spMkLst>
        </pc:spChg>
      </pc:sldChg>
      <pc:sldChg chg="modSp add mod">
        <pc:chgData name="Luca Ricci" userId="ee5f09d5-0832-4e68-94c9-d8bfd2ad04f0" providerId="ADAL" clId="{D501E5E2-574F-6542-B665-A334471D5578}" dt="2023-12-18T17:04:18.466" v="10343" actId="15"/>
        <pc:sldMkLst>
          <pc:docMk/>
          <pc:sldMk cId="1323570930" sldId="289"/>
        </pc:sldMkLst>
        <pc:spChg chg="mod">
          <ac:chgData name="Luca Ricci" userId="ee5f09d5-0832-4e68-94c9-d8bfd2ad04f0" providerId="ADAL" clId="{D501E5E2-574F-6542-B665-A334471D5578}" dt="2023-12-18T17:04:18.466" v="10343" actId="15"/>
          <ac:spMkLst>
            <pc:docMk/>
            <pc:sldMk cId="1323570930" sldId="289"/>
            <ac:spMk id="2" creationId="{B545D168-F5D6-D66F-354B-7282097BB224}"/>
          </ac:spMkLst>
        </pc:spChg>
        <pc:spChg chg="mod">
          <ac:chgData name="Luca Ricci" userId="ee5f09d5-0832-4e68-94c9-d8bfd2ad04f0" providerId="ADAL" clId="{D501E5E2-574F-6542-B665-A334471D5578}" dt="2023-12-18T16:41:09.148" v="9861" actId="20577"/>
          <ac:spMkLst>
            <pc:docMk/>
            <pc:sldMk cId="1323570930" sldId="289"/>
            <ac:spMk id="3" creationId="{ACD80753-20DC-28DE-860C-EBBFE720783E}"/>
          </ac:spMkLst>
        </pc:spChg>
      </pc:sldChg>
      <pc:sldChg chg="new del">
        <pc:chgData name="Luca Ricci" userId="ee5f09d5-0832-4e68-94c9-d8bfd2ad04f0" providerId="ADAL" clId="{D501E5E2-574F-6542-B665-A334471D5578}" dt="2023-12-18T16:02:37.550" v="9381" actId="2696"/>
        <pc:sldMkLst>
          <pc:docMk/>
          <pc:sldMk cId="2893372073" sldId="289"/>
        </pc:sldMkLst>
      </pc:sldChg>
      <pc:sldChg chg="add mod modShow">
        <pc:chgData name="Luca Ricci" userId="ee5f09d5-0832-4e68-94c9-d8bfd2ad04f0" providerId="ADAL" clId="{D501E5E2-574F-6542-B665-A334471D5578}" dt="2023-12-18T18:21:18.871" v="11144" actId="729"/>
        <pc:sldMkLst>
          <pc:docMk/>
          <pc:sldMk cId="102636184" sldId="290"/>
        </pc:sldMkLst>
      </pc:sldChg>
      <pc:sldMasterChg chg="modSp mod setBg delSldLayout modSldLayout sldLayoutOrd">
        <pc:chgData name="Luca Ricci" userId="ee5f09d5-0832-4e68-94c9-d8bfd2ad04f0" providerId="ADAL" clId="{D501E5E2-574F-6542-B665-A334471D5578}" dt="2023-12-18T18:14:45.046" v="11027" actId="20577"/>
        <pc:sldMasterMkLst>
          <pc:docMk/>
          <pc:sldMasterMk cId="0" sldId="2147483715"/>
        </pc:sldMasterMkLst>
        <pc:spChg chg="mod">
          <ac:chgData name="Luca Ricci" userId="ee5f09d5-0832-4e68-94c9-d8bfd2ad04f0" providerId="ADAL" clId="{D501E5E2-574F-6542-B665-A334471D5578}" dt="2023-12-18T14:40:49.487" v="8421" actId="403"/>
          <ac:spMkLst>
            <pc:docMk/>
            <pc:sldMasterMk cId="0" sldId="2147483715"/>
            <ac:spMk id="15" creationId="{00000000-0000-0000-0000-000000000000}"/>
          </ac:spMkLst>
        </pc:spChg>
        <pc:spChg chg="mod">
          <ac:chgData name="Luca Ricci" userId="ee5f09d5-0832-4e68-94c9-d8bfd2ad04f0" providerId="ADAL" clId="{D501E5E2-574F-6542-B665-A334471D5578}" dt="2023-12-18T14:40:53.831" v="8422" actId="403"/>
          <ac:spMkLst>
            <pc:docMk/>
            <pc:sldMasterMk cId="0" sldId="2147483715"/>
            <ac:spMk id="16" creationId="{00000000-0000-0000-0000-000000000000}"/>
          </ac:spMkLst>
        </pc:spChg>
        <pc:picChg chg="mod">
          <ac:chgData name="Luca Ricci" userId="ee5f09d5-0832-4e68-94c9-d8bfd2ad04f0" providerId="ADAL" clId="{D501E5E2-574F-6542-B665-A334471D5578}" dt="2023-12-18T08:12:50.791" v="3" actId="1076"/>
          <ac:picMkLst>
            <pc:docMk/>
            <pc:sldMasterMk cId="0" sldId="2147483715"/>
            <ac:picMk id="10" creationId="{F0C8D1F1-BA28-4973-A394-021D3C969BE1}"/>
          </ac:picMkLst>
        </pc:picChg>
        <pc:sldLayoutChg chg="delSp modSp mod setBg">
          <pc:chgData name="Luca Ricci" userId="ee5f09d5-0832-4e68-94c9-d8bfd2ad04f0" providerId="ADAL" clId="{D501E5E2-574F-6542-B665-A334471D5578}" dt="2023-12-18T14:45:34.897" v="8474" actId="478"/>
          <pc:sldLayoutMkLst>
            <pc:docMk/>
            <pc:sldMasterMk cId="0" sldId="2147483715"/>
            <pc:sldLayoutMk cId="0" sldId="2147483729"/>
          </pc:sldLayoutMkLst>
          <pc:spChg chg="mod">
            <ac:chgData name="Luca Ricci" userId="ee5f09d5-0832-4e68-94c9-d8bfd2ad04f0" providerId="ADAL" clId="{D501E5E2-574F-6542-B665-A334471D5578}" dt="2023-12-18T08:21:40.986" v="422" actId="20577"/>
            <ac:spMkLst>
              <pc:docMk/>
              <pc:sldMasterMk cId="0" sldId="2147483715"/>
              <pc:sldLayoutMk cId="0" sldId="2147483729"/>
              <ac:spMk id="16" creationId="{BB857729-3B9C-45BF-8F44-236D56EED406}"/>
            </ac:spMkLst>
          </pc:spChg>
          <pc:spChg chg="del">
            <ac:chgData name="Luca Ricci" userId="ee5f09d5-0832-4e68-94c9-d8bfd2ad04f0" providerId="ADAL" clId="{D501E5E2-574F-6542-B665-A334471D5578}" dt="2023-12-18T14:45:34.897" v="8474" actId="478"/>
            <ac:spMkLst>
              <pc:docMk/>
              <pc:sldMasterMk cId="0" sldId="2147483715"/>
              <pc:sldLayoutMk cId="0" sldId="2147483729"/>
              <ac:spMk id="20" creationId="{37C1E426-F34B-4FFB-A688-C9E251A8BC0B}"/>
            </ac:spMkLst>
          </pc:spChg>
          <pc:spChg chg="del mod">
            <ac:chgData name="Luca Ricci" userId="ee5f09d5-0832-4e68-94c9-d8bfd2ad04f0" providerId="ADAL" clId="{D501E5E2-574F-6542-B665-A334471D5578}" dt="2023-12-18T09:08:17.266" v="674" actId="478"/>
            <ac:spMkLst>
              <pc:docMk/>
              <pc:sldMasterMk cId="0" sldId="2147483715"/>
              <pc:sldLayoutMk cId="0" sldId="2147483729"/>
              <ac:spMk id="22" creationId="{6976A686-032A-4DD8-ACB2-F6323D2BEB1D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38.844" v="8475" actId="478"/>
          <pc:sldLayoutMkLst>
            <pc:docMk/>
            <pc:sldMasterMk cId="0" sldId="2147483715"/>
            <pc:sldLayoutMk cId="0" sldId="2147483730"/>
          </pc:sldLayoutMkLst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2" creationId="{17B8A1C3-E607-4E28-91A1-A973183FE78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4" creationId="{F2FF30EB-5F17-79B4-04AD-C6B3A97F0C7F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5" creationId="{129A6AB8-AFF5-056F-19FF-8878526EB042}"/>
            </ac:spMkLst>
          </pc:spChg>
          <pc:spChg chg="add del">
            <ac:chgData name="Luca Ricci" userId="ee5f09d5-0832-4e68-94c9-d8bfd2ad04f0" providerId="ADAL" clId="{D501E5E2-574F-6542-B665-A334471D5578}" dt="2023-12-18T09:08:25.994" v="678" actId="478"/>
            <ac:spMkLst>
              <pc:docMk/>
              <pc:sldMasterMk cId="0" sldId="2147483715"/>
              <pc:sldLayoutMk cId="0" sldId="2147483730"/>
              <ac:spMk id="7" creationId="{00000000-0000-0000-0000-000000000000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0" creationId="{6B901E0B-D453-4CEB-8C35-51C25A27F89D}"/>
            </ac:spMkLst>
          </pc:spChg>
          <pc:spChg chg="del">
            <ac:chgData name="Luca Ricci" userId="ee5f09d5-0832-4e68-94c9-d8bfd2ad04f0" providerId="ADAL" clId="{D501E5E2-574F-6542-B665-A334471D5578}" dt="2023-12-18T08:22:15.589" v="423"/>
            <ac:spMkLst>
              <pc:docMk/>
              <pc:sldMasterMk cId="0" sldId="2147483715"/>
              <pc:sldLayoutMk cId="0" sldId="2147483730"/>
              <ac:spMk id="12" creationId="{212E0C1A-F772-4C8C-B2E7-03887DA46ED9}"/>
            </ac:spMkLst>
          </pc:spChg>
          <pc:spChg chg="add del mod">
            <ac:chgData name="Luca Ricci" userId="ee5f09d5-0832-4e68-94c9-d8bfd2ad04f0" providerId="ADAL" clId="{D501E5E2-574F-6542-B665-A334471D5578}" dt="2023-12-18T08:22:18.121" v="425"/>
            <ac:spMkLst>
              <pc:docMk/>
              <pc:sldMasterMk cId="0" sldId="2147483715"/>
              <pc:sldLayoutMk cId="0" sldId="2147483730"/>
              <ac:spMk id="14" creationId="{FB5ED900-CB2B-248C-ACDC-2DD0B4045141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6" creationId="{AE7C2CD8-51F6-84D5-C470-B938F011AB20}"/>
            </ac:spMkLst>
          </pc:spChg>
          <pc:spChg chg="mod">
            <ac:chgData name="Luca Ricci" userId="ee5f09d5-0832-4e68-94c9-d8bfd2ad04f0" providerId="ADAL" clId="{D501E5E2-574F-6542-B665-A334471D5578}" dt="2023-12-18T08:22:44.170" v="427"/>
            <ac:spMkLst>
              <pc:docMk/>
              <pc:sldMasterMk cId="0" sldId="2147483715"/>
              <pc:sldLayoutMk cId="0" sldId="2147483730"/>
              <ac:spMk id="17" creationId="{FE09BAC5-F3BC-4C51-A794-098F4099C052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18" creationId="{EE4D22F7-7348-86BB-D216-A2E404B743AB}"/>
            </ac:spMkLst>
          </pc:spChg>
          <pc:spChg chg="add mod">
            <ac:chgData name="Luca Ricci" userId="ee5f09d5-0832-4e68-94c9-d8bfd2ad04f0" providerId="ADAL" clId="{D501E5E2-574F-6542-B665-A334471D5578}" dt="2023-12-18T08:22:18.673" v="426"/>
            <ac:spMkLst>
              <pc:docMk/>
              <pc:sldMasterMk cId="0" sldId="2147483715"/>
              <pc:sldLayoutMk cId="0" sldId="2147483730"/>
              <ac:spMk id="20" creationId="{51FD46C1-99E4-32F0-2F7E-6F40AFB84D4A}"/>
            </ac:spMkLst>
          </pc:spChg>
          <pc:spChg chg="del">
            <ac:chgData name="Luca Ricci" userId="ee5f09d5-0832-4e68-94c9-d8bfd2ad04f0" providerId="ADAL" clId="{D501E5E2-574F-6542-B665-A334471D5578}" dt="2023-12-18T14:45:38.844" v="8475" actId="478"/>
            <ac:spMkLst>
              <pc:docMk/>
              <pc:sldMasterMk cId="0" sldId="2147483715"/>
              <pc:sldLayoutMk cId="0" sldId="2147483730"/>
              <ac:spMk id="21" creationId="{6F76DDB4-3F8E-4A82-B473-4784C9B20BC1}"/>
            </ac:spMkLst>
          </pc:spChg>
          <pc:spChg chg="add del mod">
            <ac:chgData name="Luca Ricci" userId="ee5f09d5-0832-4e68-94c9-d8bfd2ad04f0" providerId="ADAL" clId="{D501E5E2-574F-6542-B665-A334471D5578}" dt="2023-12-18T09:08:23.135" v="676" actId="478"/>
            <ac:spMkLst>
              <pc:docMk/>
              <pc:sldMasterMk cId="0" sldId="2147483715"/>
              <pc:sldLayoutMk cId="0" sldId="2147483730"/>
              <ac:spMk id="22" creationId="{B9D63E21-4B9B-CBEF-06B6-4DFBBEBD8C0A}"/>
            </ac:spMkLst>
          </pc:spChg>
          <pc:spChg chg="del">
            <ac:chgData name="Luca Ricci" userId="ee5f09d5-0832-4e68-94c9-d8bfd2ad04f0" providerId="ADAL" clId="{D501E5E2-574F-6542-B665-A334471D5578}" dt="2023-12-18T09:08:29.046" v="679" actId="478"/>
            <ac:spMkLst>
              <pc:docMk/>
              <pc:sldMasterMk cId="0" sldId="2147483715"/>
              <pc:sldLayoutMk cId="0" sldId="2147483730"/>
              <ac:spMk id="23" creationId="{2C326E6F-F54B-4E77-BCF5-73E6B02466B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2.400" v="8477" actId="478"/>
          <pc:sldLayoutMkLst>
            <pc:docMk/>
            <pc:sldMasterMk cId="0" sldId="2147483715"/>
            <pc:sldLayoutMk cId="0" sldId="2147483731"/>
          </pc:sldLayoutMkLst>
          <pc:spChg chg="mod">
            <ac:chgData name="Luca Ricci" userId="ee5f09d5-0832-4e68-94c9-d8bfd2ad04f0" providerId="ADAL" clId="{D501E5E2-574F-6542-B665-A334471D5578}" dt="2023-12-18T08:22:50.819" v="428"/>
            <ac:spMkLst>
              <pc:docMk/>
              <pc:sldMasterMk cId="0" sldId="2147483715"/>
              <pc:sldLayoutMk cId="0" sldId="2147483731"/>
              <ac:spMk id="18" creationId="{DC9834AE-8B30-477E-8C87-5F8E7D7B17A3}"/>
            </ac:spMkLst>
          </pc:spChg>
          <pc:spChg chg="del mod">
            <ac:chgData name="Luca Ricci" userId="ee5f09d5-0832-4e68-94c9-d8bfd2ad04f0" providerId="ADAL" clId="{D501E5E2-574F-6542-B665-A334471D5578}" dt="2023-12-18T14:45:42.400" v="8477" actId="478"/>
            <ac:spMkLst>
              <pc:docMk/>
              <pc:sldMasterMk cId="0" sldId="2147483715"/>
              <pc:sldLayoutMk cId="0" sldId="2147483731"/>
              <ac:spMk id="22" creationId="{A254D557-505E-4B08-8C5B-DEA083728C5A}"/>
            </ac:spMkLst>
          </pc:spChg>
          <pc:spChg chg="del">
            <ac:chgData name="Luca Ricci" userId="ee5f09d5-0832-4e68-94c9-d8bfd2ad04f0" providerId="ADAL" clId="{D501E5E2-574F-6542-B665-A334471D5578}" dt="2023-12-18T09:08:33.358" v="680" actId="478"/>
            <ac:spMkLst>
              <pc:docMk/>
              <pc:sldMasterMk cId="0" sldId="2147483715"/>
              <pc:sldLayoutMk cId="0" sldId="2147483731"/>
              <ac:spMk id="24" creationId="{6E3D16E2-B858-4F89-B7A0-119FBFC70810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48.011" v="8478" actId="478"/>
          <pc:sldLayoutMkLst>
            <pc:docMk/>
            <pc:sldMasterMk cId="0" sldId="2147483715"/>
            <pc:sldLayoutMk cId="0" sldId="2147483732"/>
          </pc:sldLayoutMkLst>
          <pc:spChg chg="mod">
            <ac:chgData name="Luca Ricci" userId="ee5f09d5-0832-4e68-94c9-d8bfd2ad04f0" providerId="ADAL" clId="{D501E5E2-574F-6542-B665-A334471D5578}" dt="2023-12-18T08:23:00.191" v="429"/>
            <ac:spMkLst>
              <pc:docMk/>
              <pc:sldMasterMk cId="0" sldId="2147483715"/>
              <pc:sldLayoutMk cId="0" sldId="2147483732"/>
              <ac:spMk id="20" creationId="{C0C951CC-CB9B-43AC-8395-FB2751814E0F}"/>
            </ac:spMkLst>
          </pc:spChg>
          <pc:spChg chg="del">
            <ac:chgData name="Luca Ricci" userId="ee5f09d5-0832-4e68-94c9-d8bfd2ad04f0" providerId="ADAL" clId="{D501E5E2-574F-6542-B665-A334471D5578}" dt="2023-12-18T14:45:48.011" v="8478" actId="478"/>
            <ac:spMkLst>
              <pc:docMk/>
              <pc:sldMasterMk cId="0" sldId="2147483715"/>
              <pc:sldLayoutMk cId="0" sldId="2147483732"/>
              <ac:spMk id="24" creationId="{3F4900C8-0A39-4B02-8E0A-398AAC4831BF}"/>
            </ac:spMkLst>
          </pc:spChg>
          <pc:spChg chg="del">
            <ac:chgData name="Luca Ricci" userId="ee5f09d5-0832-4e68-94c9-d8bfd2ad04f0" providerId="ADAL" clId="{D501E5E2-574F-6542-B665-A334471D5578}" dt="2023-12-18T09:08:39.585" v="681" actId="478"/>
            <ac:spMkLst>
              <pc:docMk/>
              <pc:sldMasterMk cId="0" sldId="2147483715"/>
              <pc:sldLayoutMk cId="0" sldId="2147483732"/>
              <ac:spMk id="26" creationId="{A1158698-11CA-4310-AAEA-81BFB74C7A4D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0.300" v="8479" actId="478"/>
          <pc:sldLayoutMkLst>
            <pc:docMk/>
            <pc:sldMasterMk cId="0" sldId="2147483715"/>
            <pc:sldLayoutMk cId="0" sldId="2147483733"/>
          </pc:sldLayoutMkLst>
          <pc:spChg chg="mod">
            <ac:chgData name="Luca Ricci" userId="ee5f09d5-0832-4e68-94c9-d8bfd2ad04f0" providerId="ADAL" clId="{D501E5E2-574F-6542-B665-A334471D5578}" dt="2023-12-18T08:23:07.322" v="430"/>
            <ac:spMkLst>
              <pc:docMk/>
              <pc:sldMasterMk cId="0" sldId="2147483715"/>
              <pc:sldLayoutMk cId="0" sldId="2147483733"/>
              <ac:spMk id="19" creationId="{0C8DD3BC-73D2-4101-B037-359F1B42B434}"/>
            </ac:spMkLst>
          </pc:spChg>
          <pc:spChg chg="del">
            <ac:chgData name="Luca Ricci" userId="ee5f09d5-0832-4e68-94c9-d8bfd2ad04f0" providerId="ADAL" clId="{D501E5E2-574F-6542-B665-A334471D5578}" dt="2023-12-18T14:45:50.300" v="8479" actId="478"/>
            <ac:spMkLst>
              <pc:docMk/>
              <pc:sldMasterMk cId="0" sldId="2147483715"/>
              <pc:sldLayoutMk cId="0" sldId="2147483733"/>
              <ac:spMk id="23" creationId="{FC21F178-EFAA-49DE-A35E-72E2C0CA3B0B}"/>
            </ac:spMkLst>
          </pc:spChg>
          <pc:spChg chg="del">
            <ac:chgData name="Luca Ricci" userId="ee5f09d5-0832-4e68-94c9-d8bfd2ad04f0" providerId="ADAL" clId="{D501E5E2-574F-6542-B665-A334471D5578}" dt="2023-12-18T09:08:42.908" v="682" actId="478"/>
            <ac:spMkLst>
              <pc:docMk/>
              <pc:sldMasterMk cId="0" sldId="2147483715"/>
              <pc:sldLayoutMk cId="0" sldId="2147483733"/>
              <ac:spMk id="25" creationId="{43B2B732-8EC3-4F44-986D-B5DAC6EA77C1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3.350" v="8480" actId="478"/>
          <pc:sldLayoutMkLst>
            <pc:docMk/>
            <pc:sldMasterMk cId="0" sldId="2147483715"/>
            <pc:sldLayoutMk cId="0" sldId="2147483734"/>
          </pc:sldLayoutMkLst>
          <pc:spChg chg="mod">
            <ac:chgData name="Luca Ricci" userId="ee5f09d5-0832-4e68-94c9-d8bfd2ad04f0" providerId="ADAL" clId="{D501E5E2-574F-6542-B665-A334471D5578}" dt="2023-12-18T08:23:12.622" v="431"/>
            <ac:spMkLst>
              <pc:docMk/>
              <pc:sldMasterMk cId="0" sldId="2147483715"/>
              <pc:sldLayoutMk cId="0" sldId="2147483734"/>
              <ac:spMk id="20" creationId="{97E57A33-CDFD-4C72-B657-882682DACB1E}"/>
            </ac:spMkLst>
          </pc:spChg>
          <pc:spChg chg="del">
            <ac:chgData name="Luca Ricci" userId="ee5f09d5-0832-4e68-94c9-d8bfd2ad04f0" providerId="ADAL" clId="{D501E5E2-574F-6542-B665-A334471D5578}" dt="2023-12-18T14:45:53.350" v="8480" actId="478"/>
            <ac:spMkLst>
              <pc:docMk/>
              <pc:sldMasterMk cId="0" sldId="2147483715"/>
              <pc:sldLayoutMk cId="0" sldId="2147483734"/>
              <ac:spMk id="24" creationId="{F09BE8EF-EBD2-4B7A-9878-8440DC26C91A}"/>
            </ac:spMkLst>
          </pc:spChg>
          <pc:spChg chg="del">
            <ac:chgData name="Luca Ricci" userId="ee5f09d5-0832-4e68-94c9-d8bfd2ad04f0" providerId="ADAL" clId="{D501E5E2-574F-6542-B665-A334471D5578}" dt="2023-12-18T09:08:48.800" v="683" actId="478"/>
            <ac:spMkLst>
              <pc:docMk/>
              <pc:sldMasterMk cId="0" sldId="2147483715"/>
              <pc:sldLayoutMk cId="0" sldId="2147483734"/>
              <ac:spMk id="26" creationId="{99207B66-AFA5-4510-BF1D-29423C34CEF2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56.172" v="8481" actId="478"/>
          <pc:sldLayoutMkLst>
            <pc:docMk/>
            <pc:sldMasterMk cId="0" sldId="2147483715"/>
            <pc:sldLayoutMk cId="0" sldId="2147483735"/>
          </pc:sldLayoutMkLst>
          <pc:spChg chg="add del">
            <ac:chgData name="Luca Ricci" userId="ee5f09d5-0832-4e68-94c9-d8bfd2ad04f0" providerId="ADAL" clId="{D501E5E2-574F-6542-B665-A334471D5578}" dt="2023-12-18T09:08:54.812" v="685" actId="478"/>
            <ac:spMkLst>
              <pc:docMk/>
              <pc:sldMasterMk cId="0" sldId="2147483715"/>
              <pc:sldLayoutMk cId="0" sldId="2147483735"/>
              <ac:spMk id="7" creationId="{00000000-0000-0000-0000-000000000000}"/>
            </ac:spMkLst>
          </pc:spChg>
          <pc:spChg chg="mod">
            <ac:chgData name="Luca Ricci" userId="ee5f09d5-0832-4e68-94c9-d8bfd2ad04f0" providerId="ADAL" clId="{D501E5E2-574F-6542-B665-A334471D5578}" dt="2023-12-18T08:23:18.169" v="432"/>
            <ac:spMkLst>
              <pc:docMk/>
              <pc:sldMasterMk cId="0" sldId="2147483715"/>
              <pc:sldLayoutMk cId="0" sldId="2147483735"/>
              <ac:spMk id="19" creationId="{557CA6BF-F2F9-417F-A2FD-035F1FC85693}"/>
            </ac:spMkLst>
          </pc:spChg>
          <pc:spChg chg="del">
            <ac:chgData name="Luca Ricci" userId="ee5f09d5-0832-4e68-94c9-d8bfd2ad04f0" providerId="ADAL" clId="{D501E5E2-574F-6542-B665-A334471D5578}" dt="2023-12-18T14:45:56.172" v="8481" actId="478"/>
            <ac:spMkLst>
              <pc:docMk/>
              <pc:sldMasterMk cId="0" sldId="2147483715"/>
              <pc:sldLayoutMk cId="0" sldId="2147483735"/>
              <ac:spMk id="23" creationId="{4E82CE8C-8E20-4C1A-B65C-F8A30CF5A153}"/>
            </ac:spMkLst>
          </pc:spChg>
          <pc:spChg chg="del">
            <ac:chgData name="Luca Ricci" userId="ee5f09d5-0832-4e68-94c9-d8bfd2ad04f0" providerId="ADAL" clId="{D501E5E2-574F-6542-B665-A334471D5578}" dt="2023-12-18T09:08:58.473" v="686" actId="478"/>
            <ac:spMkLst>
              <pc:docMk/>
              <pc:sldMasterMk cId="0" sldId="2147483715"/>
              <pc:sldLayoutMk cId="0" sldId="2147483735"/>
              <ac:spMk id="25" creationId="{D96F0A90-37BC-4B0D-A29D-8711C51DD447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5:59.940" v="8482" actId="478"/>
          <pc:sldLayoutMkLst>
            <pc:docMk/>
            <pc:sldMasterMk cId="0" sldId="2147483715"/>
            <pc:sldLayoutMk cId="0" sldId="2147483736"/>
          </pc:sldLayoutMkLst>
          <pc:spChg chg="mod">
            <ac:chgData name="Luca Ricci" userId="ee5f09d5-0832-4e68-94c9-d8bfd2ad04f0" providerId="ADAL" clId="{D501E5E2-574F-6542-B665-A334471D5578}" dt="2023-12-18T08:23:22.171" v="433"/>
            <ac:spMkLst>
              <pc:docMk/>
              <pc:sldMasterMk cId="0" sldId="2147483715"/>
              <pc:sldLayoutMk cId="0" sldId="2147483736"/>
              <ac:spMk id="20" creationId="{C492E0D9-97C5-4A27-B585-4460769C4D67}"/>
            </ac:spMkLst>
          </pc:spChg>
          <pc:spChg chg="del">
            <ac:chgData name="Luca Ricci" userId="ee5f09d5-0832-4e68-94c9-d8bfd2ad04f0" providerId="ADAL" clId="{D501E5E2-574F-6542-B665-A334471D5578}" dt="2023-12-18T14:45:59.940" v="8482" actId="478"/>
            <ac:spMkLst>
              <pc:docMk/>
              <pc:sldMasterMk cId="0" sldId="2147483715"/>
              <pc:sldLayoutMk cId="0" sldId="2147483736"/>
              <ac:spMk id="24" creationId="{D547197E-1EC3-47AA-B644-4B7771421A2B}"/>
            </ac:spMkLst>
          </pc:spChg>
          <pc:spChg chg="del">
            <ac:chgData name="Luca Ricci" userId="ee5f09d5-0832-4e68-94c9-d8bfd2ad04f0" providerId="ADAL" clId="{D501E5E2-574F-6542-B665-A334471D5578}" dt="2023-12-18T09:09:02.519" v="687" actId="478"/>
            <ac:spMkLst>
              <pc:docMk/>
              <pc:sldMasterMk cId="0" sldId="2147483715"/>
              <pc:sldLayoutMk cId="0" sldId="2147483736"/>
              <ac:spMk id="26" creationId="{5B4084F1-8114-4C22-84F5-3D14817A790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2.746" v="8483" actId="478"/>
          <pc:sldLayoutMkLst>
            <pc:docMk/>
            <pc:sldMasterMk cId="0" sldId="2147483715"/>
            <pc:sldLayoutMk cId="0" sldId="2147483737"/>
          </pc:sldLayoutMkLst>
          <pc:spChg chg="mod">
            <ac:chgData name="Luca Ricci" userId="ee5f09d5-0832-4e68-94c9-d8bfd2ad04f0" providerId="ADAL" clId="{D501E5E2-574F-6542-B665-A334471D5578}" dt="2023-12-18T08:23:26.580" v="434"/>
            <ac:spMkLst>
              <pc:docMk/>
              <pc:sldMasterMk cId="0" sldId="2147483715"/>
              <pc:sldLayoutMk cId="0" sldId="2147483737"/>
              <ac:spMk id="9" creationId="{C33D0117-4C9D-47FC-BBAF-7D90814DB7C7}"/>
            </ac:spMkLst>
          </pc:spChg>
          <pc:spChg chg="del">
            <ac:chgData name="Luca Ricci" userId="ee5f09d5-0832-4e68-94c9-d8bfd2ad04f0" providerId="ADAL" clId="{D501E5E2-574F-6542-B665-A334471D5578}" dt="2023-12-18T14:46:02.746" v="8483" actId="478"/>
            <ac:spMkLst>
              <pc:docMk/>
              <pc:sldMasterMk cId="0" sldId="2147483715"/>
              <pc:sldLayoutMk cId="0" sldId="2147483737"/>
              <ac:spMk id="14" creationId="{B1D76006-023D-437E-80D1-B8FC83CA1329}"/>
            </ac:spMkLst>
          </pc:spChg>
          <pc:spChg chg="del">
            <ac:chgData name="Luca Ricci" userId="ee5f09d5-0832-4e68-94c9-d8bfd2ad04f0" providerId="ADAL" clId="{D501E5E2-574F-6542-B665-A334471D5578}" dt="2023-12-18T09:09:06.225" v="688" actId="478"/>
            <ac:spMkLst>
              <pc:docMk/>
              <pc:sldMasterMk cId="0" sldId="2147483715"/>
              <pc:sldLayoutMk cId="0" sldId="2147483737"/>
              <ac:spMk id="26" creationId="{71DC81B7-1CCA-48F9-8AB9-34BBC16340CF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5.669" v="8484" actId="478"/>
          <pc:sldLayoutMkLst>
            <pc:docMk/>
            <pc:sldMasterMk cId="0" sldId="2147483715"/>
            <pc:sldLayoutMk cId="0" sldId="2147483738"/>
          </pc:sldLayoutMkLst>
          <pc:spChg chg="mod">
            <ac:chgData name="Luca Ricci" userId="ee5f09d5-0832-4e68-94c9-d8bfd2ad04f0" providerId="ADAL" clId="{D501E5E2-574F-6542-B665-A334471D5578}" dt="2023-12-18T08:23:30.813" v="435"/>
            <ac:spMkLst>
              <pc:docMk/>
              <pc:sldMasterMk cId="0" sldId="2147483715"/>
              <pc:sldLayoutMk cId="0" sldId="2147483738"/>
              <ac:spMk id="9" creationId="{2A98BB16-D9CD-4785-A71C-21C57A554883}"/>
            </ac:spMkLst>
          </pc:spChg>
          <pc:spChg chg="del">
            <ac:chgData name="Luca Ricci" userId="ee5f09d5-0832-4e68-94c9-d8bfd2ad04f0" providerId="ADAL" clId="{D501E5E2-574F-6542-B665-A334471D5578}" dt="2023-12-18T14:46:05.669" v="8484" actId="478"/>
            <ac:spMkLst>
              <pc:docMk/>
              <pc:sldMasterMk cId="0" sldId="2147483715"/>
              <pc:sldLayoutMk cId="0" sldId="2147483738"/>
              <ac:spMk id="11" creationId="{DBAA7875-DC7B-4CB1-AFAA-A99AEDD01BF7}"/>
            </ac:spMkLst>
          </pc:spChg>
          <pc:spChg chg="del">
            <ac:chgData name="Luca Ricci" userId="ee5f09d5-0832-4e68-94c9-d8bfd2ad04f0" providerId="ADAL" clId="{D501E5E2-574F-6542-B665-A334471D5578}" dt="2023-12-18T09:09:10.312" v="689" actId="478"/>
            <ac:spMkLst>
              <pc:docMk/>
              <pc:sldMasterMk cId="0" sldId="2147483715"/>
              <pc:sldLayoutMk cId="0" sldId="2147483738"/>
              <ac:spMk id="15" creationId="{5743D8EF-9336-4669-BBD9-501D062A3DB4}"/>
            </ac:spMkLst>
          </pc:spChg>
        </pc:sldLayoutChg>
        <pc:sldLayoutChg chg="delSp modSp mod setBg">
          <pc:chgData name="Luca Ricci" userId="ee5f09d5-0832-4e68-94c9-d8bfd2ad04f0" providerId="ADAL" clId="{D501E5E2-574F-6542-B665-A334471D5578}" dt="2023-12-18T14:46:08.319" v="8485" actId="478"/>
          <pc:sldLayoutMkLst>
            <pc:docMk/>
            <pc:sldMasterMk cId="0" sldId="2147483715"/>
            <pc:sldLayoutMk cId="0" sldId="2147483739"/>
          </pc:sldLayoutMkLst>
          <pc:spChg chg="mod">
            <ac:chgData name="Luca Ricci" userId="ee5f09d5-0832-4e68-94c9-d8bfd2ad04f0" providerId="ADAL" clId="{D501E5E2-574F-6542-B665-A334471D5578}" dt="2023-12-18T08:24:39.544" v="438"/>
            <ac:spMkLst>
              <pc:docMk/>
              <pc:sldMasterMk cId="0" sldId="2147483715"/>
              <pc:sldLayoutMk cId="0" sldId="2147483739"/>
              <ac:spMk id="16" creationId="{4E03D739-7852-4964-A407-6FD3B0FC1EEE}"/>
            </ac:spMkLst>
          </pc:spChg>
          <pc:spChg chg="del">
            <ac:chgData name="Luca Ricci" userId="ee5f09d5-0832-4e68-94c9-d8bfd2ad04f0" providerId="ADAL" clId="{D501E5E2-574F-6542-B665-A334471D5578}" dt="2023-12-18T14:46:08.319" v="8485" actId="478"/>
            <ac:spMkLst>
              <pc:docMk/>
              <pc:sldMasterMk cId="0" sldId="2147483715"/>
              <pc:sldLayoutMk cId="0" sldId="2147483739"/>
              <ac:spMk id="20" creationId="{35CA1B3C-86AD-43CD-94E9-5A2E81B7D24E}"/>
            </ac:spMkLst>
          </pc:spChg>
          <pc:spChg chg="del">
            <ac:chgData name="Luca Ricci" userId="ee5f09d5-0832-4e68-94c9-d8bfd2ad04f0" providerId="ADAL" clId="{D501E5E2-574F-6542-B665-A334471D5578}" dt="2023-12-18T09:09:14.263" v="690" actId="478"/>
            <ac:spMkLst>
              <pc:docMk/>
              <pc:sldMasterMk cId="0" sldId="2147483715"/>
              <pc:sldLayoutMk cId="0" sldId="2147483739"/>
              <ac:spMk id="22" creationId="{8E11CE1F-6424-469C-8957-85A359561FBF}"/>
            </ac:spMkLst>
          </pc:spChg>
        </pc:sldLayoutChg>
        <pc:sldLayoutChg chg="addSp delSp modSp mod setBg">
          <pc:chgData name="Luca Ricci" userId="ee5f09d5-0832-4e68-94c9-d8bfd2ad04f0" providerId="ADAL" clId="{D501E5E2-574F-6542-B665-A334471D5578}" dt="2023-12-18T14:45:26.254" v="8472" actId="478"/>
          <pc:sldLayoutMkLst>
            <pc:docMk/>
            <pc:sldMasterMk cId="0" sldId="2147483715"/>
            <pc:sldLayoutMk cId="455361232" sldId="2147483744"/>
          </pc:sldLayoutMkLst>
          <pc:spChg chg="add mod">
            <ac:chgData name="Luca Ricci" userId="ee5f09d5-0832-4e68-94c9-d8bfd2ad04f0" providerId="ADAL" clId="{D501E5E2-574F-6542-B665-A334471D5578}" dt="2023-12-18T14:40:00.704" v="8420" actId="1076"/>
            <ac:spMkLst>
              <pc:docMk/>
              <pc:sldMasterMk cId="0" sldId="2147483715"/>
              <pc:sldLayoutMk cId="455361232" sldId="2147483744"/>
              <ac:spMk id="5" creationId="{8E517925-1E1F-5C49-CCDA-9974E75078DA}"/>
            </ac:spMkLst>
          </pc:spChg>
          <pc:spChg chg="del">
            <ac:chgData name="Luca Ricci" userId="ee5f09d5-0832-4e68-94c9-d8bfd2ad04f0" providerId="ADAL" clId="{D501E5E2-574F-6542-B665-A334471D5578}" dt="2023-12-18T14:45:26.254" v="8472" actId="478"/>
            <ac:spMkLst>
              <pc:docMk/>
              <pc:sldMasterMk cId="0" sldId="2147483715"/>
              <pc:sldLayoutMk cId="455361232" sldId="2147483744"/>
              <ac:spMk id="10" creationId="{2D16A7B9-CA23-4C66-B2AF-3682EAAE8159}"/>
            </ac:spMkLst>
          </pc:spChg>
          <pc:spChg chg="del">
            <ac:chgData name="Luca Ricci" userId="ee5f09d5-0832-4e68-94c9-d8bfd2ad04f0" providerId="ADAL" clId="{D501E5E2-574F-6542-B665-A334471D5578}" dt="2023-12-18T08:40:35.169" v="472" actId="478"/>
            <ac:spMkLst>
              <pc:docMk/>
              <pc:sldMasterMk cId="0" sldId="2147483715"/>
              <pc:sldLayoutMk cId="455361232" sldId="2147483744"/>
              <ac:spMk id="23" creationId="{5805FCC4-D045-0733-8C95-81CAFF95804B}"/>
            </ac:spMkLst>
          </pc:spChg>
          <pc:picChg chg="add mod">
            <ac:chgData name="Luca Ricci" userId="ee5f09d5-0832-4e68-94c9-d8bfd2ad04f0" providerId="ADAL" clId="{D501E5E2-574F-6542-B665-A334471D5578}" dt="2023-12-18T08:13:22.537" v="8" actId="14100"/>
            <ac:picMkLst>
              <pc:docMk/>
              <pc:sldMasterMk cId="0" sldId="2147483715"/>
              <pc:sldLayoutMk cId="455361232" sldId="2147483744"/>
              <ac:picMk id="4" creationId="{605D435E-1749-4D7C-922C-B8AA23F4AC2D}"/>
            </ac:picMkLst>
          </pc:picChg>
          <pc:picChg chg="del mod">
            <ac:chgData name="Luca Ricci" userId="ee5f09d5-0832-4e68-94c9-d8bfd2ad04f0" providerId="ADAL" clId="{D501E5E2-574F-6542-B665-A334471D5578}" dt="2023-12-18T08:13:16.633" v="5" actId="478"/>
            <ac:picMkLst>
              <pc:docMk/>
              <pc:sldMasterMk cId="0" sldId="2147483715"/>
              <pc:sldLayoutMk cId="455361232" sldId="2147483744"/>
              <ac:picMk id="20" creationId="{92DC6926-96FF-4BB1-823E-5F2FFE796E76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7:40.397" v="460" actId="207"/>
          <pc:sldLayoutMkLst>
            <pc:docMk/>
            <pc:sldMasterMk cId="0" sldId="2147483715"/>
            <pc:sldLayoutMk cId="987074326" sldId="2147483747"/>
          </pc:sldLayoutMkLst>
          <pc:spChg chg="mod">
            <ac:chgData name="Luca Ricci" userId="ee5f09d5-0832-4e68-94c9-d8bfd2ad04f0" providerId="ADAL" clId="{D501E5E2-574F-6542-B665-A334471D5578}" dt="2023-12-18T08:37:40.397" v="460" actId="207"/>
            <ac:spMkLst>
              <pc:docMk/>
              <pc:sldMasterMk cId="0" sldId="2147483715"/>
              <pc:sldLayoutMk cId="987074326" sldId="2147483747"/>
              <ac:spMk id="2" creationId="{3FBBF7BF-BA7F-647C-39AB-CEDA0092AA91}"/>
            </ac:spMkLst>
          </pc:spChg>
        </pc:sldLayoutChg>
        <pc:sldLayoutChg chg="delSp mod">
          <pc:chgData name="Luca Ricci" userId="ee5f09d5-0832-4e68-94c9-d8bfd2ad04f0" providerId="ADAL" clId="{D501E5E2-574F-6542-B665-A334471D5578}" dt="2023-12-18T14:45:22.447" v="8471" actId="478"/>
          <pc:sldLayoutMkLst>
            <pc:docMk/>
            <pc:sldMasterMk cId="0" sldId="2147483715"/>
            <pc:sldLayoutMk cId="2281391533" sldId="2147483751"/>
          </pc:sldLayoutMkLst>
          <pc:spChg chg="del">
            <ac:chgData name="Luca Ricci" userId="ee5f09d5-0832-4e68-94c9-d8bfd2ad04f0" providerId="ADAL" clId="{D501E5E2-574F-6542-B665-A334471D5578}" dt="2023-12-18T14:45:22.447" v="8471" actId="478"/>
            <ac:spMkLst>
              <pc:docMk/>
              <pc:sldMasterMk cId="0" sldId="2147483715"/>
              <pc:sldLayoutMk cId="2281391533" sldId="2147483751"/>
              <ac:spMk id="9" creationId="{F2A69E30-B66A-4640-A0FD-5D2C3EE160B0}"/>
            </ac:spMkLst>
          </pc:spChg>
          <pc:picChg chg="del">
            <ac:chgData name="Luca Ricci" userId="ee5f09d5-0832-4e68-94c9-d8bfd2ad04f0" providerId="ADAL" clId="{D501E5E2-574F-6542-B665-A334471D5578}" dt="2023-12-18T09:16:48.020" v="756" actId="478"/>
            <ac:picMkLst>
              <pc:docMk/>
              <pc:sldMasterMk cId="0" sldId="2147483715"/>
              <pc:sldLayoutMk cId="2281391533" sldId="2147483751"/>
              <ac:picMk id="13" creationId="{14B40D43-B16A-95C2-5897-59812263EA21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18:14:45.046" v="11027" actId="20577"/>
          <pc:sldLayoutMkLst>
            <pc:docMk/>
            <pc:sldMasterMk cId="0" sldId="2147483715"/>
            <pc:sldLayoutMk cId="197727015" sldId="2147483753"/>
          </pc:sldLayoutMkLst>
          <pc:spChg chg="add del">
            <ac:chgData name="Luca Ricci" userId="ee5f09d5-0832-4e68-94c9-d8bfd2ad04f0" providerId="ADAL" clId="{D501E5E2-574F-6542-B665-A334471D5578}" dt="2023-12-18T10:45:20.801" v="5452" actId="11529"/>
            <ac:spMkLst>
              <pc:docMk/>
              <pc:sldMasterMk cId="0" sldId="2147483715"/>
              <pc:sldLayoutMk cId="197727015" sldId="2147483753"/>
              <ac:spMk id="3" creationId="{5F908CE4-3C1E-1693-1D32-7E70BFD09BDB}"/>
            </ac:spMkLst>
          </pc:spChg>
          <pc:spChg chg="add del mod">
            <ac:chgData name="Luca Ricci" userId="ee5f09d5-0832-4e68-94c9-d8bfd2ad04f0" providerId="ADAL" clId="{D501E5E2-574F-6542-B665-A334471D5578}" dt="2023-12-18T11:01:04.276" v="6436" actId="478"/>
            <ac:spMkLst>
              <pc:docMk/>
              <pc:sldMasterMk cId="0" sldId="2147483715"/>
              <pc:sldLayoutMk cId="197727015" sldId="2147483753"/>
              <ac:spMk id="5" creationId="{67EA891B-5AAB-31DF-A6C1-A05663215303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8" creationId="{087EFA22-3F6E-4210-A8FC-0864CD1DE4EF}"/>
            </ac:spMkLst>
          </pc:spChg>
          <pc:spChg chg="add del">
            <ac:chgData name="Luca Ricci" userId="ee5f09d5-0832-4e68-94c9-d8bfd2ad04f0" providerId="ADAL" clId="{D501E5E2-574F-6542-B665-A334471D5578}" dt="2023-12-18T10:50:22.675" v="5925" actId="11529"/>
            <ac:spMkLst>
              <pc:docMk/>
              <pc:sldMasterMk cId="0" sldId="2147483715"/>
              <pc:sldLayoutMk cId="197727015" sldId="2147483753"/>
              <ac:spMk id="9" creationId="{DD0CEFA3-953D-A256-B8C2-D5C8A75743F0}"/>
            </ac:spMkLst>
          </pc:spChg>
          <pc:spChg chg="del mod">
            <ac:chgData name="Luca Ricci" userId="ee5f09d5-0832-4e68-94c9-d8bfd2ad04f0" providerId="ADAL" clId="{D501E5E2-574F-6542-B665-A334471D5578}" dt="2023-12-18T10:45:23.530" v="5454" actId="478"/>
            <ac:spMkLst>
              <pc:docMk/>
              <pc:sldMasterMk cId="0" sldId="2147483715"/>
              <pc:sldLayoutMk cId="197727015" sldId="2147483753"/>
              <ac:spMk id="10" creationId="{8739B1C3-A1A6-48E1-B2C4-F4CE3C824436}"/>
            </ac:spMkLst>
          </pc:spChg>
          <pc:spChg chg="add del mod">
            <ac:chgData name="Luca Ricci" userId="ee5f09d5-0832-4e68-94c9-d8bfd2ad04f0" providerId="ADAL" clId="{D501E5E2-574F-6542-B665-A334471D5578}" dt="2023-12-18T10:51:01.145" v="5931" actId="478"/>
            <ac:spMkLst>
              <pc:docMk/>
              <pc:sldMasterMk cId="0" sldId="2147483715"/>
              <pc:sldLayoutMk cId="197727015" sldId="2147483753"/>
              <ac:spMk id="11" creationId="{725956B1-3EF4-88B9-F6B3-A8F5AC36B792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4" creationId="{BDF262C8-30D5-474A-BD81-CA14ACCE51B5}"/>
            </ac:spMkLst>
          </pc:spChg>
          <pc:spChg chg="add del">
            <ac:chgData name="Luca Ricci" userId="ee5f09d5-0832-4e68-94c9-d8bfd2ad04f0" providerId="ADAL" clId="{D501E5E2-574F-6542-B665-A334471D5578}" dt="2023-12-18T11:00:38.887" v="6417"/>
            <ac:spMkLst>
              <pc:docMk/>
              <pc:sldMasterMk cId="0" sldId="2147483715"/>
              <pc:sldLayoutMk cId="197727015" sldId="2147483753"/>
              <ac:spMk id="15" creationId="{3F1C5DF9-A781-4661-8C3B-816A398ADFDD}"/>
            </ac:spMkLst>
          </pc:spChg>
          <pc:spChg chg="add del mod">
            <ac:chgData name="Luca Ricci" userId="ee5f09d5-0832-4e68-94c9-d8bfd2ad04f0" providerId="ADAL" clId="{D501E5E2-574F-6542-B665-A334471D5578}" dt="2023-12-18T11:01:08.413" v="6437" actId="478"/>
            <ac:spMkLst>
              <pc:docMk/>
              <pc:sldMasterMk cId="0" sldId="2147483715"/>
              <pc:sldLayoutMk cId="197727015" sldId="2147483753"/>
              <ac:spMk id="16" creationId="{7D277D05-EC8B-E405-337A-B6C1799834DA}"/>
            </ac:spMkLst>
          </pc:spChg>
          <pc:spChg chg="add del mod">
            <ac:chgData name="Luca Ricci" userId="ee5f09d5-0832-4e68-94c9-d8bfd2ad04f0" providerId="ADAL" clId="{D501E5E2-574F-6542-B665-A334471D5578}" dt="2023-12-18T11:00:40.998" v="6420" actId="767"/>
            <ac:spMkLst>
              <pc:docMk/>
              <pc:sldMasterMk cId="0" sldId="2147483715"/>
              <pc:sldLayoutMk cId="197727015" sldId="2147483753"/>
              <ac:spMk id="17" creationId="{57CCE7A6-D1F5-0782-EEAD-EBB4D456EA7D}"/>
            </ac:spMkLst>
          </pc:spChg>
          <pc:spChg chg="add del mod">
            <ac:chgData name="Luca Ricci" userId="ee5f09d5-0832-4e68-94c9-d8bfd2ad04f0" providerId="ADAL" clId="{D501E5E2-574F-6542-B665-A334471D5578}" dt="2023-12-18T11:00:39.716" v="6418"/>
            <ac:spMkLst>
              <pc:docMk/>
              <pc:sldMasterMk cId="0" sldId="2147483715"/>
              <pc:sldLayoutMk cId="197727015" sldId="2147483753"/>
              <ac:spMk id="18" creationId="{4CF1AA7D-4D66-3838-5AC1-639CD46D2E94}"/>
            </ac:spMkLst>
          </pc:spChg>
          <pc:spChg chg="add del">
            <ac:chgData name="Luca Ricci" userId="ee5f09d5-0832-4e68-94c9-d8bfd2ad04f0" providerId="ADAL" clId="{D501E5E2-574F-6542-B665-A334471D5578}" dt="2023-12-18T11:02:55.568" v="6439" actId="11529"/>
            <ac:spMkLst>
              <pc:docMk/>
              <pc:sldMasterMk cId="0" sldId="2147483715"/>
              <pc:sldLayoutMk cId="197727015" sldId="2147483753"/>
              <ac:spMk id="19" creationId="{9EF0997F-61F0-856B-F747-9B40F4BD4DBB}"/>
            </ac:spMkLst>
          </pc:spChg>
          <pc:spChg chg="add del mod">
            <ac:chgData name="Luca Ricci" userId="ee5f09d5-0832-4e68-94c9-d8bfd2ad04f0" providerId="ADAL" clId="{D501E5E2-574F-6542-B665-A334471D5578}" dt="2023-12-18T11:02:58.174" v="6440" actId="478"/>
            <ac:spMkLst>
              <pc:docMk/>
              <pc:sldMasterMk cId="0" sldId="2147483715"/>
              <pc:sldLayoutMk cId="197727015" sldId="2147483753"/>
              <ac:spMk id="20" creationId="{6144D6CA-4E49-2E44-5435-A583B2C21456}"/>
            </ac:spMkLst>
          </pc:spChg>
          <pc:spChg chg="add del mod">
            <ac:chgData name="Luca Ricci" userId="ee5f09d5-0832-4e68-94c9-d8bfd2ad04f0" providerId="ADAL" clId="{D501E5E2-574F-6542-B665-A334471D5578}" dt="2023-12-18T11:03:09.929" v="6443"/>
            <ac:spMkLst>
              <pc:docMk/>
              <pc:sldMasterMk cId="0" sldId="2147483715"/>
              <pc:sldLayoutMk cId="197727015" sldId="2147483753"/>
              <ac:spMk id="21" creationId="{3A689652-2D68-C2EE-E5F1-6F306F813244}"/>
            </ac:spMkLst>
          </pc:spChg>
          <pc:spChg chg="add del mod">
            <ac:chgData name="Luca Ricci" userId="ee5f09d5-0832-4e68-94c9-d8bfd2ad04f0" providerId="ADAL" clId="{D501E5E2-574F-6542-B665-A334471D5578}" dt="2023-12-18T11:03:40.945" v="6447"/>
            <ac:spMkLst>
              <pc:docMk/>
              <pc:sldMasterMk cId="0" sldId="2147483715"/>
              <pc:sldLayoutMk cId="197727015" sldId="2147483753"/>
              <ac:spMk id="22" creationId="{9B543D5A-7FBE-DC3D-E5B2-6E1E9147E9DA}"/>
            </ac:spMkLst>
          </pc:spChg>
          <pc:spChg chg="add mod">
            <ac:chgData name="Luca Ricci" userId="ee5f09d5-0832-4e68-94c9-d8bfd2ad04f0" providerId="ADAL" clId="{D501E5E2-574F-6542-B665-A334471D5578}" dt="2023-12-18T11:14:00.329" v="6976" actId="1076"/>
            <ac:spMkLst>
              <pc:docMk/>
              <pc:sldMasterMk cId="0" sldId="2147483715"/>
              <pc:sldLayoutMk cId="197727015" sldId="2147483753"/>
              <ac:spMk id="23" creationId="{2B85AA65-668F-A760-0BF5-086383CCE0F2}"/>
            </ac:spMkLst>
          </pc:spChg>
          <pc:spChg chg="add mod">
            <ac:chgData name="Luca Ricci" userId="ee5f09d5-0832-4e68-94c9-d8bfd2ad04f0" providerId="ADAL" clId="{D501E5E2-574F-6542-B665-A334471D5578}" dt="2023-12-18T18:14:45.046" v="11027" actId="20577"/>
            <ac:spMkLst>
              <pc:docMk/>
              <pc:sldMasterMk cId="0" sldId="2147483715"/>
              <pc:sldLayoutMk cId="197727015" sldId="2147483753"/>
              <ac:spMk id="25" creationId="{E19F9FB8-5294-E57F-CBFE-D1A6B4048FC7}"/>
            </ac:spMkLst>
          </pc:spChg>
          <pc:spChg chg="add del mod">
            <ac:chgData name="Luca Ricci" userId="ee5f09d5-0832-4e68-94c9-d8bfd2ad04f0" providerId="ADAL" clId="{D501E5E2-574F-6542-B665-A334471D5578}" dt="2023-12-18T11:10:35.382" v="6874" actId="478"/>
            <ac:spMkLst>
              <pc:docMk/>
              <pc:sldMasterMk cId="0" sldId="2147483715"/>
              <pc:sldLayoutMk cId="197727015" sldId="2147483753"/>
              <ac:spMk id="26" creationId="{AB750963-3A2A-DD81-A710-AA03AFC7452E}"/>
            </ac:spMkLst>
          </pc:spChg>
          <pc:spChg chg="add mod">
            <ac:chgData name="Luca Ricci" userId="ee5f09d5-0832-4e68-94c9-d8bfd2ad04f0" providerId="ADAL" clId="{D501E5E2-574F-6542-B665-A334471D5578}" dt="2023-12-18T13:42:59.504" v="7553" actId="1076"/>
            <ac:spMkLst>
              <pc:docMk/>
              <pc:sldMasterMk cId="0" sldId="2147483715"/>
              <pc:sldLayoutMk cId="197727015" sldId="2147483753"/>
              <ac:spMk id="27" creationId="{F5CEC03E-16AB-863B-452B-4B4C8B54FE14}"/>
            </ac:spMkLst>
          </pc:spChg>
          <pc:picChg chg="del mod">
            <ac:chgData name="Luca Ricci" userId="ee5f09d5-0832-4e68-94c9-d8bfd2ad04f0" providerId="ADAL" clId="{D501E5E2-574F-6542-B665-A334471D5578}" dt="2023-12-18T11:02:29.550" v="6438" actId="21"/>
            <ac:picMkLst>
              <pc:docMk/>
              <pc:sldMasterMk cId="0" sldId="2147483715"/>
              <pc:sldLayoutMk cId="197727015" sldId="2147483753"/>
              <ac:picMk id="4" creationId="{1D664F82-C381-42D9-B168-31F6D4282D28}"/>
            </ac:picMkLst>
          </pc:picChg>
          <pc:picChg chg="add mod">
            <ac:chgData name="Luca Ricci" userId="ee5f09d5-0832-4e68-94c9-d8bfd2ad04f0" providerId="ADAL" clId="{D501E5E2-574F-6542-B665-A334471D5578}" dt="2023-12-18T11:14:32.239" v="6982" actId="1076"/>
            <ac:picMkLst>
              <pc:docMk/>
              <pc:sldMasterMk cId="0" sldId="2147483715"/>
              <pc:sldLayoutMk cId="197727015" sldId="2147483753"/>
              <ac:picMk id="24" creationId="{DF98B2F7-BEAF-17E3-0C2E-7C9AB8F8F641}"/>
            </ac:picMkLst>
          </pc:picChg>
        </pc:sldLayoutChg>
        <pc:sldLayoutChg chg="setBg">
          <pc:chgData name="Luca Ricci" userId="ee5f09d5-0832-4e68-94c9-d8bfd2ad04f0" providerId="ADAL" clId="{D501E5E2-574F-6542-B665-A334471D5578}" dt="2023-12-18T08:29:40.456" v="455"/>
          <pc:sldLayoutMkLst>
            <pc:docMk/>
            <pc:sldMasterMk cId="0" sldId="2147483715"/>
            <pc:sldLayoutMk cId="3943257007" sldId="2147483754"/>
          </pc:sldLayoutMkLst>
        </pc:sldLayoutChg>
        <pc:sldLayoutChg chg="delSp mod">
          <pc:chgData name="Luca Ricci" userId="ee5f09d5-0832-4e68-94c9-d8bfd2ad04f0" providerId="ADAL" clId="{D501E5E2-574F-6542-B665-A334471D5578}" dt="2023-12-18T14:45:29.905" v="8473" actId="478"/>
          <pc:sldLayoutMkLst>
            <pc:docMk/>
            <pc:sldMasterMk cId="0" sldId="2147483715"/>
            <pc:sldLayoutMk cId="4192423285" sldId="2147483755"/>
          </pc:sldLayoutMkLst>
          <pc:spChg chg="del">
            <ac:chgData name="Luca Ricci" userId="ee5f09d5-0832-4e68-94c9-d8bfd2ad04f0" providerId="ADAL" clId="{D501E5E2-574F-6542-B665-A334471D5578}" dt="2023-12-18T14:45:29.905" v="8473" actId="478"/>
            <ac:spMkLst>
              <pc:docMk/>
              <pc:sldMasterMk cId="0" sldId="2147483715"/>
              <pc:sldLayoutMk cId="4192423285" sldId="2147483755"/>
              <ac:spMk id="9" creationId="{2E1A11AC-1395-4E21-827C-BF03F1350E73}"/>
            </ac:spMkLst>
          </pc:spChg>
          <pc:picChg chg="del">
            <ac:chgData name="Luca Ricci" userId="ee5f09d5-0832-4e68-94c9-d8bfd2ad04f0" providerId="ADAL" clId="{D501E5E2-574F-6542-B665-A334471D5578}" dt="2023-12-18T09:16:51.552" v="757" actId="478"/>
            <ac:picMkLst>
              <pc:docMk/>
              <pc:sldMasterMk cId="0" sldId="2147483715"/>
              <pc:sldLayoutMk cId="4192423285" sldId="2147483755"/>
              <ac:picMk id="14" creationId="{FDF9E41B-77CF-35CD-755A-23A3817718CA}"/>
            </ac:picMkLst>
          </pc:picChg>
        </pc:sldLayoutChg>
        <pc:sldLayoutChg chg="modSp mod setBg">
          <pc:chgData name="Luca Ricci" userId="ee5f09d5-0832-4e68-94c9-d8bfd2ad04f0" providerId="ADAL" clId="{D501E5E2-574F-6542-B665-A334471D5578}" dt="2023-12-18T08:38:20.598" v="465" actId="14100"/>
          <pc:sldLayoutMkLst>
            <pc:docMk/>
            <pc:sldMasterMk cId="0" sldId="2147483715"/>
            <pc:sldLayoutMk cId="114647271" sldId="2147483756"/>
          </pc:sldLayoutMkLst>
          <pc:spChg chg="mod">
            <ac:chgData name="Luca Ricci" userId="ee5f09d5-0832-4e68-94c9-d8bfd2ad04f0" providerId="ADAL" clId="{D501E5E2-574F-6542-B665-A334471D5578}" dt="2023-12-18T08:37:46.075" v="461" actId="207"/>
            <ac:spMkLst>
              <pc:docMk/>
              <pc:sldMasterMk cId="0" sldId="2147483715"/>
              <pc:sldLayoutMk cId="114647271" sldId="2147483756"/>
              <ac:spMk id="16" creationId="{63F28C96-D1D9-271E-B326-A1C4DC6BC78F}"/>
            </ac:spMkLst>
          </pc:spChg>
          <pc:picChg chg="mod">
            <ac:chgData name="Luca Ricci" userId="ee5f09d5-0832-4e68-94c9-d8bfd2ad04f0" providerId="ADAL" clId="{D501E5E2-574F-6542-B665-A334471D5578}" dt="2023-12-18T08:38:20.598" v="465" actId="14100"/>
            <ac:picMkLst>
              <pc:docMk/>
              <pc:sldMasterMk cId="0" sldId="2147483715"/>
              <pc:sldLayoutMk cId="114647271" sldId="2147483756"/>
              <ac:picMk id="14" creationId="{E2919660-0784-4B00-9836-7A6951590970}"/>
            </ac:picMkLst>
          </pc:picChg>
        </pc:sldLayoutChg>
        <pc:sldLayoutChg chg="del ord">
          <pc:chgData name="Luca Ricci" userId="ee5f09d5-0832-4e68-94c9-d8bfd2ad04f0" providerId="ADAL" clId="{D501E5E2-574F-6542-B665-A334471D5578}" dt="2023-12-18T11:03:35.750" v="6446" actId="2696"/>
          <pc:sldLayoutMkLst>
            <pc:docMk/>
            <pc:sldMasterMk cId="0" sldId="2147483715"/>
            <pc:sldLayoutMk cId="818623543" sldId="2147483757"/>
          </pc:sldLayoutMkLst>
        </pc:sldLayoutChg>
        <pc:sldLayoutChg chg="addSp delSp modSp mod setBg">
          <pc:chgData name="Luca Ricci" userId="ee5f09d5-0832-4e68-94c9-d8bfd2ad04f0" providerId="ADAL" clId="{D501E5E2-574F-6542-B665-A334471D5578}" dt="2023-12-18T09:00:45.695" v="481" actId="14826"/>
          <pc:sldLayoutMkLst>
            <pc:docMk/>
            <pc:sldMasterMk cId="0" sldId="2147483715"/>
            <pc:sldLayoutMk cId="4192423285" sldId="2147483757"/>
          </pc:sldLayoutMkLst>
          <pc:spChg chg="add mod">
            <ac:chgData name="Luca Ricci" userId="ee5f09d5-0832-4e68-94c9-d8bfd2ad04f0" providerId="ADAL" clId="{D501E5E2-574F-6542-B665-A334471D5578}" dt="2023-12-18T08:40:24.390" v="471" actId="14100"/>
            <ac:spMkLst>
              <pc:docMk/>
              <pc:sldMasterMk cId="0" sldId="2147483715"/>
              <pc:sldLayoutMk cId="4192423285" sldId="2147483757"/>
              <ac:spMk id="4" creationId="{F78FA4EE-1DD5-7407-0262-DA3A3C9AFF45}"/>
            </ac:spMkLst>
          </pc:spChg>
          <pc:spChg chg="add del mod">
            <ac:chgData name="Luca Ricci" userId="ee5f09d5-0832-4e68-94c9-d8bfd2ad04f0" providerId="ADAL" clId="{D501E5E2-574F-6542-B665-A334471D5578}" dt="2023-12-18T08:57:55.073" v="476" actId="478"/>
            <ac:spMkLst>
              <pc:docMk/>
              <pc:sldMasterMk cId="0" sldId="2147483715"/>
              <pc:sldLayoutMk cId="4192423285" sldId="2147483757"/>
              <ac:spMk id="12" creationId="{1AED7259-EB2D-36D9-A8B6-8D65CA8F23DB}"/>
            </ac:spMkLst>
          </pc:spChg>
          <pc:spChg chg="del mod">
            <ac:chgData name="Luca Ricci" userId="ee5f09d5-0832-4e68-94c9-d8bfd2ad04f0" providerId="ADAL" clId="{D501E5E2-574F-6542-B665-A334471D5578}" dt="2023-12-18T08:40:07.113" v="468" actId="478"/>
            <ac:spMkLst>
              <pc:docMk/>
              <pc:sldMasterMk cId="0" sldId="2147483715"/>
              <pc:sldLayoutMk cId="4192423285" sldId="2147483757"/>
              <ac:spMk id="27" creationId="{2B034C47-A659-3457-E1A7-79A7F521356A}"/>
            </ac:spMkLst>
          </pc:spChg>
          <pc:picChg chg="add mod">
            <ac:chgData name="Luca Ricci" userId="ee5f09d5-0832-4e68-94c9-d8bfd2ad04f0" providerId="ADAL" clId="{D501E5E2-574F-6542-B665-A334471D5578}" dt="2023-12-18T08:13:29.018" v="10"/>
            <ac:picMkLst>
              <pc:docMk/>
              <pc:sldMasterMk cId="0" sldId="2147483715"/>
              <pc:sldLayoutMk cId="4192423285" sldId="2147483757"/>
              <ac:picMk id="2" creationId="{C2AAC32F-0B7D-23A2-5C0D-7F4099862102}"/>
            </ac:picMkLst>
          </pc:picChg>
          <pc:picChg chg="add mod">
            <ac:chgData name="Luca Ricci" userId="ee5f09d5-0832-4e68-94c9-d8bfd2ad04f0" providerId="ADAL" clId="{D501E5E2-574F-6542-B665-A334471D5578}" dt="2023-12-18T09:00:45.695" v="481" actId="14826"/>
            <ac:picMkLst>
              <pc:docMk/>
              <pc:sldMasterMk cId="0" sldId="2147483715"/>
              <pc:sldLayoutMk cId="4192423285" sldId="2147483757"/>
              <ac:picMk id="14" creationId="{FDF9E41B-77CF-35CD-755A-23A3817718CA}"/>
            </ac:picMkLst>
          </pc:picChg>
          <pc:picChg chg="del">
            <ac:chgData name="Luca Ricci" userId="ee5f09d5-0832-4e68-94c9-d8bfd2ad04f0" providerId="ADAL" clId="{D501E5E2-574F-6542-B665-A334471D5578}" dt="2023-12-18T08:13:27.715" v="9" actId="478"/>
            <ac:picMkLst>
              <pc:docMk/>
              <pc:sldMasterMk cId="0" sldId="2147483715"/>
              <pc:sldLayoutMk cId="4192423285" sldId="2147483757"/>
              <ac:picMk id="20" creationId="{A2558C1A-A4CE-495C-941B-21CFE7DE6C24}"/>
            </ac:picMkLst>
          </pc:picChg>
        </pc:sldLayoutChg>
        <pc:sldLayoutChg chg="addSp delSp modSp mod setBg">
          <pc:chgData name="Luca Ricci" userId="ee5f09d5-0832-4e68-94c9-d8bfd2ad04f0" providerId="ADAL" clId="{D501E5E2-574F-6542-B665-A334471D5578}" dt="2023-12-18T09:13:03.054" v="697" actId="1076"/>
          <pc:sldLayoutMkLst>
            <pc:docMk/>
            <pc:sldMasterMk cId="0" sldId="2147483715"/>
            <pc:sldLayoutMk cId="2281391533" sldId="2147483758"/>
          </pc:sldLayoutMkLst>
          <pc:spChg chg="mod">
            <ac:chgData name="Luca Ricci" userId="ee5f09d5-0832-4e68-94c9-d8bfd2ad04f0" providerId="ADAL" clId="{D501E5E2-574F-6542-B665-A334471D5578}" dt="2023-12-18T08:37:33.241" v="459" actId="207"/>
            <ac:spMkLst>
              <pc:docMk/>
              <pc:sldMasterMk cId="0" sldId="2147483715"/>
              <pc:sldLayoutMk cId="2281391533" sldId="2147483758"/>
              <ac:spMk id="3" creationId="{2EA7ACC0-9174-0F6F-0B3E-9FE773D0A408}"/>
            </ac:spMkLst>
          </pc:spChg>
          <pc:picChg chg="add mod">
            <ac:chgData name="Luca Ricci" userId="ee5f09d5-0832-4e68-94c9-d8bfd2ad04f0" providerId="ADAL" clId="{D501E5E2-574F-6542-B665-A334471D5578}" dt="2023-12-18T08:13:33.224" v="12"/>
            <ac:picMkLst>
              <pc:docMk/>
              <pc:sldMasterMk cId="0" sldId="2147483715"/>
              <pc:sldLayoutMk cId="2281391533" sldId="2147483758"/>
              <ac:picMk id="7" creationId="{75564267-9319-13F8-EEAD-D9F259FB3603}"/>
            </ac:picMkLst>
          </pc:picChg>
          <pc:picChg chg="add mod">
            <ac:chgData name="Luca Ricci" userId="ee5f09d5-0832-4e68-94c9-d8bfd2ad04f0" providerId="ADAL" clId="{D501E5E2-574F-6542-B665-A334471D5578}" dt="2023-12-18T09:13:03.054" v="697" actId="1076"/>
            <ac:picMkLst>
              <pc:docMk/>
              <pc:sldMasterMk cId="0" sldId="2147483715"/>
              <pc:sldLayoutMk cId="2281391533" sldId="2147483758"/>
              <ac:picMk id="13" creationId="{14B40D43-B16A-95C2-5897-59812263EA21}"/>
            </ac:picMkLst>
          </pc:picChg>
          <pc:picChg chg="del">
            <ac:chgData name="Luca Ricci" userId="ee5f09d5-0832-4e68-94c9-d8bfd2ad04f0" providerId="ADAL" clId="{D501E5E2-574F-6542-B665-A334471D5578}" dt="2023-12-18T08:13:32.202" v="11" actId="478"/>
            <ac:picMkLst>
              <pc:docMk/>
              <pc:sldMasterMk cId="0" sldId="2147483715"/>
              <pc:sldLayoutMk cId="2281391533" sldId="2147483758"/>
              <ac:picMk id="20" creationId="{0090C8BE-0F32-4CF4-BB5D-F435E6072DCB}"/>
            </ac:picMkLst>
          </pc:picChg>
        </pc:sldLayoutChg>
      </pc:sldMasterChg>
      <pc:sldMasterChg chg="addSp modSldLayout">
        <pc:chgData name="Luca Ricci" userId="ee5f09d5-0832-4e68-94c9-d8bfd2ad04f0" providerId="ADAL" clId="{D501E5E2-574F-6542-B665-A334471D5578}" dt="2023-12-18T08:31:50.054" v="457"/>
        <pc:sldMasterMkLst>
          <pc:docMk/>
          <pc:sldMasterMk cId="2008708253" sldId="2147483757"/>
        </pc:sldMasterMkLst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7" creationId="{CD676044-3807-5874-7D51-B4767D8E762E}"/>
          </ac:spMkLst>
        </pc:spChg>
        <pc:spChg chg="add">
          <ac:chgData name="Luca Ricci" userId="ee5f09d5-0832-4e68-94c9-d8bfd2ad04f0" providerId="ADAL" clId="{D501E5E2-574F-6542-B665-A334471D5578}" dt="2023-12-18T08:31:36.749" v="456"/>
          <ac:spMkLst>
            <pc:docMk/>
            <pc:sldMasterMk cId="2008708253" sldId="2147483757"/>
            <ac:spMk id="9" creationId="{F013580E-98D9-588A-4D79-B71DAFA91A51}"/>
          </ac:spMkLst>
        </pc:spChg>
        <pc:picChg chg="add">
          <ac:chgData name="Luca Ricci" userId="ee5f09d5-0832-4e68-94c9-d8bfd2ad04f0" providerId="ADAL" clId="{D501E5E2-574F-6542-B665-A334471D5578}" dt="2023-12-18T08:31:36.749" v="456"/>
          <ac:picMkLst>
            <pc:docMk/>
            <pc:sldMasterMk cId="2008708253" sldId="2147483757"/>
            <ac:picMk id="10" creationId="{B56FBA6C-F62E-0C96-1D9B-100E4F4AC83E}"/>
          </ac:picMkLst>
        </pc:picChg>
        <pc:sldLayoutChg chg="addSp">
          <pc:chgData name="Luca Ricci" userId="ee5f09d5-0832-4e68-94c9-d8bfd2ad04f0" providerId="ADAL" clId="{D501E5E2-574F-6542-B665-A334471D5578}" dt="2023-12-18T08:31:36.749" v="456"/>
          <pc:sldLayoutMkLst>
            <pc:docMk/>
            <pc:sldMasterMk cId="2008708253" sldId="2147483757"/>
            <pc:sldLayoutMk cId="3059673449" sldId="2147483763"/>
          </pc:sldLayoutMkLst>
          <pc:spChg chg="add">
            <ac:chgData name="Luca Ricci" userId="ee5f09d5-0832-4e68-94c9-d8bfd2ad04f0" providerId="ADAL" clId="{D501E5E2-574F-6542-B665-A334471D5578}" dt="2023-12-18T08:31:36.749" v="456"/>
            <ac:spMkLst>
              <pc:docMk/>
              <pc:sldMasterMk cId="2008708253" sldId="2147483757"/>
              <pc:sldLayoutMk cId="3059673449" sldId="2147483763"/>
              <ac:spMk id="6" creationId="{BDD83863-94B7-C99C-4595-60638394055E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539184703" sldId="2147483770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539184703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31:50.054" v="457"/>
          <pc:sldLayoutMkLst>
            <pc:docMk/>
            <pc:sldMasterMk cId="2008708253" sldId="2147483757"/>
            <pc:sldLayoutMk cId="1461110984" sldId="2147483771"/>
          </pc:sldLayoutMkLst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31:50.054" v="457"/>
            <ac:spMkLst>
              <pc:docMk/>
              <pc:sldMasterMk cId="2008708253" sldId="2147483757"/>
              <pc:sldLayoutMk cId="1461110984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6:43.228" v="441"/>
        <pc:sldMasterMkLst>
          <pc:docMk/>
          <pc:sldMasterMk cId="2439023528" sldId="2147483757"/>
        </pc:sldMasterMkLst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8" creationId="{EA9C3011-FB2B-BFF3-8805-65DD44A255E2}"/>
          </ac:spMkLst>
        </pc:spChg>
        <pc:spChg chg="add">
          <ac:chgData name="Luca Ricci" userId="ee5f09d5-0832-4e68-94c9-d8bfd2ad04f0" providerId="ADAL" clId="{D501E5E2-574F-6542-B665-A334471D5578}" dt="2023-12-18T08:26:38.917" v="440"/>
          <ac:spMkLst>
            <pc:docMk/>
            <pc:sldMasterMk cId="2439023528" sldId="2147483757"/>
            <ac:spMk id="9" creationId="{B2784A38-2B5B-5CF3-10D6-4C3D9EA1EB25}"/>
          </ac:spMkLst>
        </pc:spChg>
        <pc:picChg chg="add">
          <ac:chgData name="Luca Ricci" userId="ee5f09d5-0832-4e68-94c9-d8bfd2ad04f0" providerId="ADAL" clId="{D501E5E2-574F-6542-B665-A334471D5578}" dt="2023-12-18T08:26:38.917" v="440"/>
          <ac:picMkLst>
            <pc:docMk/>
            <pc:sldMasterMk cId="2439023528" sldId="2147483757"/>
            <ac:picMk id="10" creationId="{E11FF2DC-F675-3C31-3734-771340FC4814}"/>
          </ac:picMkLst>
        </pc:picChg>
        <pc:sldLayoutChg chg="addSp">
          <pc:chgData name="Luca Ricci" userId="ee5f09d5-0832-4e68-94c9-d8bfd2ad04f0" providerId="ADAL" clId="{D501E5E2-574F-6542-B665-A334471D5578}" dt="2023-12-18T08:26:38.917" v="440"/>
          <pc:sldLayoutMkLst>
            <pc:docMk/>
            <pc:sldMasterMk cId="2439023528" sldId="2147483757"/>
            <pc:sldLayoutMk cId="3986506277" sldId="2147483763"/>
          </pc:sldLayoutMkLst>
          <pc:spChg chg="add">
            <ac:chgData name="Luca Ricci" userId="ee5f09d5-0832-4e68-94c9-d8bfd2ad04f0" providerId="ADAL" clId="{D501E5E2-574F-6542-B665-A334471D5578}" dt="2023-12-18T08:26:38.917" v="440"/>
            <ac:spMkLst>
              <pc:docMk/>
              <pc:sldMasterMk cId="2439023528" sldId="2147483757"/>
              <pc:sldLayoutMk cId="3986506277" sldId="2147483763"/>
              <ac:spMk id="6" creationId="{C495DA99-6503-E6C9-656C-28B8D9588449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348555779" sldId="2147483770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348555779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6:43.228" v="441"/>
          <pc:sldLayoutMkLst>
            <pc:docMk/>
            <pc:sldMasterMk cId="2439023528" sldId="2147483757"/>
            <pc:sldLayoutMk cId="1168032543" sldId="2147483771"/>
          </pc:sldLayoutMkLst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6:43.228" v="441"/>
            <ac:spMkLst>
              <pc:docMk/>
              <pc:sldMasterMk cId="2439023528" sldId="2147483757"/>
              <pc:sldLayoutMk cId="1168032543" sldId="2147483771"/>
              <ac:spMk id="13" creationId="{E0318986-8EA2-446A-AFF2-E8441C3AF8A6}"/>
            </ac:spMkLst>
          </pc:spChg>
        </pc:sldLayoutChg>
      </pc:sldMasterChg>
      <pc:sldMasterChg chg="addSp modSldLayout">
        <pc:chgData name="Luca Ricci" userId="ee5f09d5-0832-4e68-94c9-d8bfd2ad04f0" providerId="ADAL" clId="{D501E5E2-574F-6542-B665-A334471D5578}" dt="2023-12-18T08:27:25.758" v="452"/>
        <pc:sldMasterMkLst>
          <pc:docMk/>
          <pc:sldMasterMk cId="3244851779" sldId="2147483757"/>
        </pc:sldMasterMkLst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7" creationId="{859AE944-056A-001F-7328-7B21399710C6}"/>
          </ac:spMkLst>
        </pc:spChg>
        <pc:spChg chg="add">
          <ac:chgData name="Luca Ricci" userId="ee5f09d5-0832-4e68-94c9-d8bfd2ad04f0" providerId="ADAL" clId="{D501E5E2-574F-6542-B665-A334471D5578}" dt="2023-12-18T08:27:18.781" v="445"/>
          <ac:spMkLst>
            <pc:docMk/>
            <pc:sldMasterMk cId="3244851779" sldId="2147483757"/>
            <ac:spMk id="8" creationId="{22A24F6D-0327-5083-9D0F-1494C85F09A0}"/>
          </ac:spMkLst>
        </pc:spChg>
        <pc:picChg chg="add">
          <ac:chgData name="Luca Ricci" userId="ee5f09d5-0832-4e68-94c9-d8bfd2ad04f0" providerId="ADAL" clId="{D501E5E2-574F-6542-B665-A334471D5578}" dt="2023-12-18T08:27:18.781" v="445"/>
          <ac:picMkLst>
            <pc:docMk/>
            <pc:sldMasterMk cId="3244851779" sldId="2147483757"/>
            <ac:picMk id="12" creationId="{12A851E9-E73D-8DFA-5483-629A470DF9E3}"/>
          </ac:picMkLst>
        </pc:picChg>
        <pc:sldLayoutChg chg="addSp">
          <pc:chgData name="Luca Ricci" userId="ee5f09d5-0832-4e68-94c9-d8bfd2ad04f0" providerId="ADAL" clId="{D501E5E2-574F-6542-B665-A334471D5578}" dt="2023-12-18T08:27:18.781" v="445"/>
          <pc:sldLayoutMkLst>
            <pc:docMk/>
            <pc:sldMasterMk cId="3244851779" sldId="2147483757"/>
            <pc:sldLayoutMk cId="3269021797" sldId="2147483763"/>
          </pc:sldLayoutMkLst>
          <pc:spChg chg="add">
            <ac:chgData name="Luca Ricci" userId="ee5f09d5-0832-4e68-94c9-d8bfd2ad04f0" providerId="ADAL" clId="{D501E5E2-574F-6542-B665-A334471D5578}" dt="2023-12-18T08:27:18.781" v="445"/>
            <ac:spMkLst>
              <pc:docMk/>
              <pc:sldMasterMk cId="3244851779" sldId="2147483757"/>
              <pc:sldLayoutMk cId="3269021797" sldId="2147483763"/>
              <ac:spMk id="2" creationId="{BBE44E9C-4A97-0459-E8A7-D27000835B84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2605336192" sldId="2147483770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8" creationId="{9D9C4037-B0BC-4E62-B476-A41D0440655D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9" creationId="{DF1FB678-4F92-45E5-9B25-2B5FE93A09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1" creationId="{7BEA6DD0-FBBB-494B-9C03-C447E71492A5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3" creationId="{295E96AB-B6AB-4A8B-A097-6438B2DA5C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5" creationId="{0B3EC6CF-5868-40BD-BF1B-882B13F49F5C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7" creationId="{FE09BAC5-F3BC-4C51-A794-098F4099C052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19" creationId="{E695FB18-B641-433F-A03A-D58B93F377B4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1" creationId="{6F76DDB4-3F8E-4A82-B473-4784C9B20BC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2605336192" sldId="2147483770"/>
              <ac:spMk id="23" creationId="{2C326E6F-F54B-4E77-BCF5-73E6B02466B0}"/>
            </ac:spMkLst>
          </pc:spChg>
        </pc:sldLayoutChg>
        <pc:sldLayoutChg chg="addSp delSp">
          <pc:chgData name="Luca Ricci" userId="ee5f09d5-0832-4e68-94c9-d8bfd2ad04f0" providerId="ADAL" clId="{D501E5E2-574F-6542-B665-A334471D5578}" dt="2023-12-18T08:27:25.758" v="452"/>
          <pc:sldLayoutMkLst>
            <pc:docMk/>
            <pc:sldMasterMk cId="3244851779" sldId="2147483757"/>
            <pc:sldLayoutMk cId="514128480" sldId="2147483771"/>
          </pc:sldLayoutMkLst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6" creationId="{45591D6F-6D52-44E5-B3AA-2575CCD4520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7" creationId="{8182E335-5A52-4E3C-BCEC-9507D81BA51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0" creationId="{8739B1C3-A1A6-48E1-B2C4-F4CE3C824436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2" creationId="{C7038F66-C11F-4566-ADAF-A099AF957551}"/>
            </ac:spMkLst>
          </pc:spChg>
          <pc:spChg chg="add del">
            <ac:chgData name="Luca Ricci" userId="ee5f09d5-0832-4e68-94c9-d8bfd2ad04f0" providerId="ADAL" clId="{D501E5E2-574F-6542-B665-A334471D5578}" dt="2023-12-18T08:27:25.758" v="452"/>
            <ac:spMkLst>
              <pc:docMk/>
              <pc:sldMasterMk cId="3244851779" sldId="2147483757"/>
              <pc:sldLayoutMk cId="514128480" sldId="2147483771"/>
              <ac:spMk id="13" creationId="{E0318986-8EA2-446A-AFF2-E8441C3AF8A6}"/>
            </ac:spMkLst>
          </pc:spChg>
        </pc:sldLayoutChg>
      </pc:sldMasterChg>
      <pc:sldMasterChg chg="new add del mod addSldLayout delSldLayout">
        <pc:chgData name="Luca Ricci" userId="ee5f09d5-0832-4e68-94c9-d8bfd2ad04f0" providerId="ADAL" clId="{D501E5E2-574F-6542-B665-A334471D5578}" dt="2023-12-18T11:00:37.739" v="6416" actId="6938"/>
        <pc:sldMasterMkLst>
          <pc:docMk/>
          <pc:sldMasterMk cId="4224928084" sldId="2147483757"/>
        </pc:sldMasterMkLst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49204022" sldId="2147483758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109224301" sldId="2147483759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2938004223" sldId="2147483760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409106740" sldId="2147483761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158473068" sldId="2147483762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40108472" sldId="2147483763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751421800" sldId="2147483764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3029705949" sldId="2147483765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727952664" sldId="2147483766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1044000589" sldId="2147483767"/>
          </pc:sldLayoutMkLst>
        </pc:sldLayoutChg>
        <pc:sldLayoutChg chg="new add del replId">
          <pc:chgData name="Luca Ricci" userId="ee5f09d5-0832-4e68-94c9-d8bfd2ad04f0" providerId="ADAL" clId="{D501E5E2-574F-6542-B665-A334471D5578}" dt="2023-12-18T11:00:37.739" v="6416" actId="6938"/>
          <pc:sldLayoutMkLst>
            <pc:docMk/>
            <pc:sldMasterMk cId="4224928084" sldId="2147483757"/>
            <pc:sldLayoutMk cId="68681359" sldId="2147483768"/>
          </pc:sldLayoutMkLst>
        </pc:sldLayoutChg>
      </pc:sldMasterChg>
      <pc:sldMasterChg chg="addSp modSldLayout">
        <pc:chgData name="Luca Ricci" userId="ee5f09d5-0832-4e68-94c9-d8bfd2ad04f0" providerId="ADAL" clId="{D501E5E2-574F-6542-B665-A334471D5578}" dt="2023-12-18T08:27:21.980" v="447"/>
        <pc:sldMasterMkLst>
          <pc:docMk/>
          <pc:sldMasterMk cId="2244155654" sldId="2147483772"/>
        </pc:sldMasterMkLst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7" creationId="{ACC54F18-B65C-DECD-30A6-C2D13F9D5532}"/>
          </ac:spMkLst>
        </pc:spChg>
        <pc:spChg chg="add">
          <ac:chgData name="Luca Ricci" userId="ee5f09d5-0832-4e68-94c9-d8bfd2ad04f0" providerId="ADAL" clId="{D501E5E2-574F-6542-B665-A334471D5578}" dt="2023-12-18T08:27:21.980" v="447"/>
          <ac:spMkLst>
            <pc:docMk/>
            <pc:sldMasterMk cId="2244155654" sldId="2147483772"/>
            <ac:spMk id="8" creationId="{1A733346-F995-4A7F-A695-438AD86EAF54}"/>
          </ac:spMkLst>
        </pc:spChg>
        <pc:picChg chg="add">
          <ac:chgData name="Luca Ricci" userId="ee5f09d5-0832-4e68-94c9-d8bfd2ad04f0" providerId="ADAL" clId="{D501E5E2-574F-6542-B665-A334471D5578}" dt="2023-12-18T08:27:21.980" v="447"/>
          <ac:picMkLst>
            <pc:docMk/>
            <pc:sldMasterMk cId="2244155654" sldId="2147483772"/>
            <ac:picMk id="9" creationId="{A1DDBAE3-69F7-BF17-41E2-D9AEB42B4997}"/>
          </ac:picMkLst>
        </pc:picChg>
        <pc:sldLayoutChg chg="addSp">
          <pc:chgData name="Luca Ricci" userId="ee5f09d5-0832-4e68-94c9-d8bfd2ad04f0" providerId="ADAL" clId="{D501E5E2-574F-6542-B665-A334471D5578}" dt="2023-12-18T08:27:21.980" v="447"/>
          <pc:sldLayoutMkLst>
            <pc:docMk/>
            <pc:sldMasterMk cId="2244155654" sldId="2147483772"/>
            <pc:sldLayoutMk cId="1608651427" sldId="2147483778"/>
          </pc:sldLayoutMkLst>
          <pc:spChg chg="add">
            <ac:chgData name="Luca Ricci" userId="ee5f09d5-0832-4e68-94c9-d8bfd2ad04f0" providerId="ADAL" clId="{D501E5E2-574F-6542-B665-A334471D5578}" dt="2023-12-18T08:27:21.980" v="447"/>
            <ac:spMkLst>
              <pc:docMk/>
              <pc:sldMasterMk cId="2244155654" sldId="2147483772"/>
              <pc:sldLayoutMk cId="1608651427" sldId="2147483778"/>
              <ac:spMk id="6" creationId="{13795B8F-CCC8-AE03-E14E-A39353485841}"/>
            </ac:spMkLst>
          </pc:spChg>
        </pc:sldLayoutChg>
      </pc:sldMasterChg>
    </pc:docChg>
  </pc:docChgLst>
  <pc:docChgLst>
    <pc:chgData name="Luca Ricci" userId="ee5f09d5-0832-4e68-94c9-d8bfd2ad04f0" providerId="ADAL" clId="{F3F70FB2-95DD-B847-876B-923D773418E8}"/>
    <pc:docChg chg="undo custSel modSld">
      <pc:chgData name="Luca Ricci" userId="ee5f09d5-0832-4e68-94c9-d8bfd2ad04f0" providerId="ADAL" clId="{F3F70FB2-95DD-B847-876B-923D773418E8}" dt="2024-01-24T12:14:17.214" v="1995" actId="20577"/>
      <pc:docMkLst>
        <pc:docMk/>
      </pc:docMkLst>
      <pc:sldChg chg="addSp modSp mod modNotesTx">
        <pc:chgData name="Luca Ricci" userId="ee5f09d5-0832-4e68-94c9-d8bfd2ad04f0" providerId="ADAL" clId="{F3F70FB2-95DD-B847-876B-923D773418E8}" dt="2024-01-24T11:27:27.479" v="1849" actId="20577"/>
        <pc:sldMkLst>
          <pc:docMk/>
          <pc:sldMk cId="4109715435" sldId="313"/>
        </pc:sldMkLst>
        <pc:spChg chg="mod">
          <ac:chgData name="Luca Ricci" userId="ee5f09d5-0832-4e68-94c9-d8bfd2ad04f0" providerId="ADAL" clId="{F3F70FB2-95DD-B847-876B-923D773418E8}" dt="2024-01-24T11:27:27.479" v="1849" actId="20577"/>
          <ac:spMkLst>
            <pc:docMk/>
            <pc:sldMk cId="4109715435" sldId="313"/>
            <ac:spMk id="7" creationId="{8ED043E4-ED32-1DA9-33FC-E4B34D009A79}"/>
          </ac:spMkLst>
        </pc:spChg>
        <pc:picChg chg="add mod">
          <ac:chgData name="Luca Ricci" userId="ee5f09d5-0832-4e68-94c9-d8bfd2ad04f0" providerId="ADAL" clId="{F3F70FB2-95DD-B847-876B-923D773418E8}" dt="2024-01-24T11:10:02.159" v="908" actId="14826"/>
          <ac:picMkLst>
            <pc:docMk/>
            <pc:sldMk cId="4109715435" sldId="313"/>
            <ac:picMk id="6" creationId="{D37BEAA7-4947-D58A-0AB1-0CF1468F6DBA}"/>
          </ac:picMkLst>
        </pc:picChg>
      </pc:sldChg>
      <pc:sldChg chg="modSp">
        <pc:chgData name="Luca Ricci" userId="ee5f09d5-0832-4e68-94c9-d8bfd2ad04f0" providerId="ADAL" clId="{F3F70FB2-95DD-B847-876B-923D773418E8}" dt="2024-01-24T11:10:02.159" v="908" actId="14826"/>
        <pc:sldMkLst>
          <pc:docMk/>
          <pc:sldMk cId="2059814184" sldId="314"/>
        </pc:sldMkLst>
        <pc:spChg chg="mod">
          <ac:chgData name="Luca Ricci" userId="ee5f09d5-0832-4e68-94c9-d8bfd2ad04f0" providerId="ADAL" clId="{F3F70FB2-95DD-B847-876B-923D773418E8}" dt="2024-01-24T11:10:02.159" v="908" actId="14826"/>
          <ac:spMkLst>
            <pc:docMk/>
            <pc:sldMk cId="2059814184" sldId="314"/>
            <ac:spMk id="5" creationId="{455070FB-8C32-F7F3-CE34-8A53AF8479B2}"/>
          </ac:spMkLst>
        </pc:spChg>
      </pc:sldChg>
      <pc:sldChg chg="modSp mod">
        <pc:chgData name="Luca Ricci" userId="ee5f09d5-0832-4e68-94c9-d8bfd2ad04f0" providerId="ADAL" clId="{F3F70FB2-95DD-B847-876B-923D773418E8}" dt="2024-01-24T12:14:17.214" v="1995" actId="20577"/>
        <pc:sldMkLst>
          <pc:docMk/>
          <pc:sldMk cId="2060001824" sldId="316"/>
        </pc:sldMkLst>
        <pc:spChg chg="mod">
          <ac:chgData name="Luca Ricci" userId="ee5f09d5-0832-4e68-94c9-d8bfd2ad04f0" providerId="ADAL" clId="{F3F70FB2-95DD-B847-876B-923D773418E8}" dt="2024-01-24T12:14:17.214" v="1995" actId="20577"/>
          <ac:spMkLst>
            <pc:docMk/>
            <pc:sldMk cId="2060001824" sldId="316"/>
            <ac:spMk id="5" creationId="{4D8C1AFE-9FC8-D964-65F9-2D18A5E0163C}"/>
          </ac:spMkLst>
        </pc:spChg>
      </pc:sldChg>
      <pc:sldChg chg="modNotesTx">
        <pc:chgData name="Luca Ricci" userId="ee5f09d5-0832-4e68-94c9-d8bfd2ad04f0" providerId="ADAL" clId="{F3F70FB2-95DD-B847-876B-923D773418E8}" dt="2024-01-24T11:28:26.623" v="1991" actId="20577"/>
        <pc:sldMkLst>
          <pc:docMk/>
          <pc:sldMk cId="4110969131" sldId="317"/>
        </pc:sldMkLst>
      </pc:sldChg>
    </pc:docChg>
  </pc:docChgLst>
  <pc:docChgLst>
    <pc:chgData name="Gabriele Zanoletti" userId="fc6666fa-3441-4ddc-a8b9-f69fbbdf5644" providerId="ADAL" clId="{62353DCA-C895-479A-B15A-153889A74D3C}"/>
    <pc:docChg chg="undo custSel modSld">
      <pc:chgData name="Gabriele Zanoletti" userId="fc6666fa-3441-4ddc-a8b9-f69fbbdf5644" providerId="ADAL" clId="{62353DCA-C895-479A-B15A-153889A74D3C}" dt="2024-01-24T22:46:25.249" v="3063"/>
      <pc:docMkLst>
        <pc:docMk/>
      </pc:docMkLst>
      <pc:sldChg chg="modNotesTx">
        <pc:chgData name="Gabriele Zanoletti" userId="fc6666fa-3441-4ddc-a8b9-f69fbbdf5644" providerId="ADAL" clId="{62353DCA-C895-479A-B15A-153889A74D3C}" dt="2024-01-24T22:46:25.249" v="3063"/>
        <pc:sldMkLst>
          <pc:docMk/>
          <pc:sldMk cId="895135860" sldId="257"/>
        </pc:sldMkLst>
      </pc:sldChg>
      <pc:sldChg chg="modNotesTx">
        <pc:chgData name="Gabriele Zanoletti" userId="fc6666fa-3441-4ddc-a8b9-f69fbbdf5644" providerId="ADAL" clId="{62353DCA-C895-479A-B15A-153889A74D3C}" dt="2024-01-24T21:14:20.060" v="812" actId="20577"/>
        <pc:sldMkLst>
          <pc:docMk/>
          <pc:sldMk cId="3601296254" sldId="258"/>
        </pc:sldMkLst>
      </pc:sldChg>
      <pc:sldChg chg="modNotesTx">
        <pc:chgData name="Gabriele Zanoletti" userId="fc6666fa-3441-4ddc-a8b9-f69fbbdf5644" providerId="ADAL" clId="{62353DCA-C895-479A-B15A-153889A74D3C}" dt="2024-01-24T21:16:10.389" v="840" actId="20577"/>
        <pc:sldMkLst>
          <pc:docMk/>
          <pc:sldMk cId="994454846" sldId="291"/>
        </pc:sldMkLst>
      </pc:sldChg>
      <pc:sldChg chg="addSp delSp mod modNotesTx">
        <pc:chgData name="Gabriele Zanoletti" userId="fc6666fa-3441-4ddc-a8b9-f69fbbdf5644" providerId="ADAL" clId="{62353DCA-C895-479A-B15A-153889A74D3C}" dt="2024-01-24T21:18:02.422" v="880" actId="20577"/>
        <pc:sldMkLst>
          <pc:docMk/>
          <pc:sldMk cId="3241623441" sldId="292"/>
        </pc:sldMkLst>
        <pc:spChg chg="add del">
          <ac:chgData name="Gabriele Zanoletti" userId="fc6666fa-3441-4ddc-a8b9-f69fbbdf5644" providerId="ADAL" clId="{62353DCA-C895-479A-B15A-153889A74D3C}" dt="2024-01-24T21:16:41.539" v="842" actId="22"/>
          <ac:spMkLst>
            <pc:docMk/>
            <pc:sldMk cId="3241623441" sldId="292"/>
            <ac:spMk id="7" creationId="{77C9FEA5-E52B-47A7-412A-47821187B3FF}"/>
          </ac:spMkLst>
        </pc:spChg>
      </pc:sldChg>
      <pc:sldChg chg="addSp delSp mod modNotesTx">
        <pc:chgData name="Gabriele Zanoletti" userId="fc6666fa-3441-4ddc-a8b9-f69fbbdf5644" providerId="ADAL" clId="{62353DCA-C895-479A-B15A-153889A74D3C}" dt="2024-01-24T21:19:02.544" v="894" actId="20577"/>
        <pc:sldMkLst>
          <pc:docMk/>
          <pc:sldMk cId="692283471" sldId="293"/>
        </pc:sldMkLst>
        <pc:spChg chg="add del">
          <ac:chgData name="Gabriele Zanoletti" userId="fc6666fa-3441-4ddc-a8b9-f69fbbdf5644" providerId="ADAL" clId="{62353DCA-C895-479A-B15A-153889A74D3C}" dt="2024-01-24T21:18:27.540" v="882" actId="22"/>
          <ac:spMkLst>
            <pc:docMk/>
            <pc:sldMk cId="692283471" sldId="293"/>
            <ac:spMk id="6" creationId="{4826B78A-D5EE-97BE-37B3-AAE0ABFAB5D5}"/>
          </ac:spMkLst>
        </pc:spChg>
      </pc:sldChg>
      <pc:sldChg chg="modNotesTx">
        <pc:chgData name="Gabriele Zanoletti" userId="fc6666fa-3441-4ddc-a8b9-f69fbbdf5644" providerId="ADAL" clId="{62353DCA-C895-479A-B15A-153889A74D3C}" dt="2024-01-24T21:20:47.543" v="922" actId="20577"/>
        <pc:sldMkLst>
          <pc:docMk/>
          <pc:sldMk cId="2858633819" sldId="294"/>
        </pc:sldMkLst>
      </pc:sldChg>
      <pc:sldChg chg="modNotesTx">
        <pc:chgData name="Gabriele Zanoletti" userId="fc6666fa-3441-4ddc-a8b9-f69fbbdf5644" providerId="ADAL" clId="{62353DCA-C895-479A-B15A-153889A74D3C}" dt="2024-01-24T21:25:55.345" v="984" actId="20577"/>
        <pc:sldMkLst>
          <pc:docMk/>
          <pc:sldMk cId="1570471128" sldId="296"/>
        </pc:sldMkLst>
      </pc:sldChg>
      <pc:sldChg chg="modNotesTx">
        <pc:chgData name="Gabriele Zanoletti" userId="fc6666fa-3441-4ddc-a8b9-f69fbbdf5644" providerId="ADAL" clId="{62353DCA-C895-479A-B15A-153889A74D3C}" dt="2024-01-24T21:26:25.158" v="1001" actId="20577"/>
        <pc:sldMkLst>
          <pc:docMk/>
          <pc:sldMk cId="1604505303" sldId="297"/>
        </pc:sldMkLst>
      </pc:sldChg>
      <pc:sldChg chg="modNotesTx">
        <pc:chgData name="Gabriele Zanoletti" userId="fc6666fa-3441-4ddc-a8b9-f69fbbdf5644" providerId="ADAL" clId="{62353DCA-C895-479A-B15A-153889A74D3C}" dt="2024-01-24T21:38:42.554" v="1526" actId="20577"/>
        <pc:sldMkLst>
          <pc:docMk/>
          <pc:sldMk cId="1968516981" sldId="301"/>
        </pc:sldMkLst>
      </pc:sldChg>
      <pc:sldChg chg="modNotesTx">
        <pc:chgData name="Gabriele Zanoletti" userId="fc6666fa-3441-4ddc-a8b9-f69fbbdf5644" providerId="ADAL" clId="{62353DCA-C895-479A-B15A-153889A74D3C}" dt="2024-01-24T21:40:51.526" v="1550" actId="20577"/>
        <pc:sldMkLst>
          <pc:docMk/>
          <pc:sldMk cId="3837282433" sldId="302"/>
        </pc:sldMkLst>
      </pc:sldChg>
      <pc:sldChg chg="modNotesTx">
        <pc:chgData name="Gabriele Zanoletti" userId="fc6666fa-3441-4ddc-a8b9-f69fbbdf5644" providerId="ADAL" clId="{62353DCA-C895-479A-B15A-153889A74D3C}" dt="2024-01-24T21:41:36.546" v="1562" actId="20577"/>
        <pc:sldMkLst>
          <pc:docMk/>
          <pc:sldMk cId="786950877" sldId="303"/>
        </pc:sldMkLst>
      </pc:sldChg>
      <pc:sldChg chg="addSp delSp modSp mod modNotesTx">
        <pc:chgData name="Gabriele Zanoletti" userId="fc6666fa-3441-4ddc-a8b9-f69fbbdf5644" providerId="ADAL" clId="{62353DCA-C895-479A-B15A-153889A74D3C}" dt="2024-01-24T21:42:35.326" v="1581" actId="20577"/>
        <pc:sldMkLst>
          <pc:docMk/>
          <pc:sldMk cId="4147670638" sldId="304"/>
        </pc:sldMkLst>
        <pc:spChg chg="mod">
          <ac:chgData name="Gabriele Zanoletti" userId="fc6666fa-3441-4ddc-a8b9-f69fbbdf5644" providerId="ADAL" clId="{62353DCA-C895-479A-B15A-153889A74D3C}" dt="2024-01-24T19:11:25.886" v="31" actId="1076"/>
          <ac:spMkLst>
            <pc:docMk/>
            <pc:sldMk cId="4147670638" sldId="304"/>
            <ac:spMk id="2" creationId="{06675B17-37D5-6F32-A9A2-60EF4BB95C5E}"/>
          </ac:spMkLst>
        </pc:spChg>
        <pc:picChg chg="del">
          <ac:chgData name="Gabriele Zanoletti" userId="fc6666fa-3441-4ddc-a8b9-f69fbbdf5644" providerId="ADAL" clId="{62353DCA-C895-479A-B15A-153889A74D3C}" dt="2024-01-24T19:11:30.629" v="33" actId="478"/>
          <ac:picMkLst>
            <pc:docMk/>
            <pc:sldMk cId="4147670638" sldId="304"/>
            <ac:picMk id="7" creationId="{D180DF65-E1D6-19AE-3679-246BD75F1FC2}"/>
          </ac:picMkLst>
        </pc:picChg>
        <pc:picChg chg="add mod">
          <ac:chgData name="Gabriele Zanoletti" userId="fc6666fa-3441-4ddc-a8b9-f69fbbdf5644" providerId="ADAL" clId="{62353DCA-C895-479A-B15A-153889A74D3C}" dt="2024-01-24T19:11:38.567" v="67" actId="1038"/>
          <ac:picMkLst>
            <pc:docMk/>
            <pc:sldMk cId="4147670638" sldId="304"/>
            <ac:picMk id="8" creationId="{42C37590-7083-DAFC-391E-C22F26B04BD3}"/>
          </ac:picMkLst>
        </pc:picChg>
      </pc:sldChg>
      <pc:sldChg chg="modNotesTx">
        <pc:chgData name="Gabriele Zanoletti" userId="fc6666fa-3441-4ddc-a8b9-f69fbbdf5644" providerId="ADAL" clId="{62353DCA-C895-479A-B15A-153889A74D3C}" dt="2024-01-24T21:45:21.840" v="1609" actId="20577"/>
        <pc:sldMkLst>
          <pc:docMk/>
          <pc:sldMk cId="2129748764" sldId="305"/>
        </pc:sldMkLst>
      </pc:sldChg>
      <pc:sldChg chg="modSp modNotesTx">
        <pc:chgData name="Gabriele Zanoletti" userId="fc6666fa-3441-4ddc-a8b9-f69fbbdf5644" providerId="ADAL" clId="{62353DCA-C895-479A-B15A-153889A74D3C}" dt="2024-01-24T21:44:25.471" v="1600" actId="20577"/>
        <pc:sldMkLst>
          <pc:docMk/>
          <pc:sldMk cId="4004401706" sldId="306"/>
        </pc:sldMkLst>
        <pc:spChg chg="mod">
          <ac:chgData name="Gabriele Zanoletti" userId="fc6666fa-3441-4ddc-a8b9-f69fbbdf5644" providerId="ADAL" clId="{62353DCA-C895-479A-B15A-153889A74D3C}" dt="2024-01-24T21:44:25.471" v="1600" actId="20577"/>
          <ac:spMkLst>
            <pc:docMk/>
            <pc:sldMk cId="4004401706" sldId="306"/>
            <ac:spMk id="5" creationId="{F202072E-E5BB-41E3-28BB-7119B8E72D45}"/>
          </ac:spMkLst>
        </pc:spChg>
      </pc:sldChg>
      <pc:sldChg chg="modNotesTx">
        <pc:chgData name="Gabriele Zanoletti" userId="fc6666fa-3441-4ddc-a8b9-f69fbbdf5644" providerId="ADAL" clId="{62353DCA-C895-479A-B15A-153889A74D3C}" dt="2024-01-24T21:47:28.679" v="1628" actId="20577"/>
        <pc:sldMkLst>
          <pc:docMk/>
          <pc:sldMk cId="3230328343" sldId="307"/>
        </pc:sldMkLst>
      </pc:sldChg>
      <pc:sldChg chg="modNotesTx">
        <pc:chgData name="Gabriele Zanoletti" userId="fc6666fa-3441-4ddc-a8b9-f69fbbdf5644" providerId="ADAL" clId="{62353DCA-C895-479A-B15A-153889A74D3C}" dt="2024-01-24T21:47:56.130" v="1632" actId="20577"/>
        <pc:sldMkLst>
          <pc:docMk/>
          <pc:sldMk cId="3362905413" sldId="308"/>
        </pc:sldMkLst>
      </pc:sldChg>
      <pc:sldChg chg="modNotesTx">
        <pc:chgData name="Gabriele Zanoletti" userId="fc6666fa-3441-4ddc-a8b9-f69fbbdf5644" providerId="ADAL" clId="{62353DCA-C895-479A-B15A-153889A74D3C}" dt="2024-01-24T21:54:03.161" v="1739" actId="20577"/>
        <pc:sldMkLst>
          <pc:docMk/>
          <pc:sldMk cId="3056404990" sldId="310"/>
        </pc:sldMkLst>
      </pc:sldChg>
      <pc:sldChg chg="modNotesTx">
        <pc:chgData name="Gabriele Zanoletti" userId="fc6666fa-3441-4ddc-a8b9-f69fbbdf5644" providerId="ADAL" clId="{62353DCA-C895-479A-B15A-153889A74D3C}" dt="2024-01-24T22:32:49.389" v="2654"/>
        <pc:sldMkLst>
          <pc:docMk/>
          <pc:sldMk cId="2059814184" sldId="314"/>
        </pc:sldMkLst>
      </pc:sldChg>
      <pc:sldChg chg="modNotesTx">
        <pc:chgData name="Gabriele Zanoletti" userId="fc6666fa-3441-4ddc-a8b9-f69fbbdf5644" providerId="ADAL" clId="{62353DCA-C895-479A-B15A-153889A74D3C}" dt="2024-01-24T22:34:49.896" v="2671" actId="20577"/>
        <pc:sldMkLst>
          <pc:docMk/>
          <pc:sldMk cId="3439177903" sldId="315"/>
        </pc:sldMkLst>
      </pc:sldChg>
      <pc:sldChg chg="modNotesTx">
        <pc:chgData name="Gabriele Zanoletti" userId="fc6666fa-3441-4ddc-a8b9-f69fbbdf5644" providerId="ADAL" clId="{62353DCA-C895-479A-B15A-153889A74D3C}" dt="2024-01-24T22:39:45.252" v="2989" actId="20577"/>
        <pc:sldMkLst>
          <pc:docMk/>
          <pc:sldMk cId="2060001824" sldId="316"/>
        </pc:sldMkLst>
      </pc:sldChg>
      <pc:sldChg chg="modSp mod modNotesTx">
        <pc:chgData name="Gabriele Zanoletti" userId="fc6666fa-3441-4ddc-a8b9-f69fbbdf5644" providerId="ADAL" clId="{62353DCA-C895-479A-B15A-153889A74D3C}" dt="2024-01-24T22:38:21.114" v="2882" actId="20577"/>
        <pc:sldMkLst>
          <pc:docMk/>
          <pc:sldMk cId="4110969131" sldId="317"/>
        </pc:sldMkLst>
        <pc:spChg chg="mod">
          <ac:chgData name="Gabriele Zanoletti" userId="fc6666fa-3441-4ddc-a8b9-f69fbbdf5644" providerId="ADAL" clId="{62353DCA-C895-479A-B15A-153889A74D3C}" dt="2024-01-24T22:36:28.240" v="2703" actId="20577"/>
          <ac:spMkLst>
            <pc:docMk/>
            <pc:sldMk cId="4110969131" sldId="317"/>
            <ac:spMk id="7" creationId="{D824FBDC-48AD-8E79-49CA-B3208ABD485D}"/>
          </ac:spMkLst>
        </pc:spChg>
      </pc:sldChg>
      <pc:sldChg chg="modNotesTx">
        <pc:chgData name="Gabriele Zanoletti" userId="fc6666fa-3441-4ddc-a8b9-f69fbbdf5644" providerId="ADAL" clId="{62353DCA-C895-479A-B15A-153889A74D3C}" dt="2024-01-24T22:41:35.888" v="2991" actId="20577"/>
        <pc:sldMkLst>
          <pc:docMk/>
          <pc:sldMk cId="2600840893" sldId="319"/>
        </pc:sldMkLst>
      </pc:sldChg>
      <pc:sldChg chg="modNotesTx">
        <pc:chgData name="Gabriele Zanoletti" userId="fc6666fa-3441-4ddc-a8b9-f69fbbdf5644" providerId="ADAL" clId="{62353DCA-C895-479A-B15A-153889A74D3C}" dt="2024-01-24T22:43:42.779" v="3002" actId="20577"/>
        <pc:sldMkLst>
          <pc:docMk/>
          <pc:sldMk cId="2371849535" sldId="320"/>
        </pc:sldMkLst>
      </pc:sldChg>
      <pc:sldChg chg="modNotesTx">
        <pc:chgData name="Gabriele Zanoletti" userId="fc6666fa-3441-4ddc-a8b9-f69fbbdf5644" providerId="ADAL" clId="{62353DCA-C895-479A-B15A-153889A74D3C}" dt="2024-01-24T21:28:22.533" v="1133" actId="20577"/>
        <pc:sldMkLst>
          <pc:docMk/>
          <pc:sldMk cId="902660526" sldId="322"/>
        </pc:sldMkLst>
      </pc:sldChg>
      <pc:sldChg chg="modNotesTx">
        <pc:chgData name="Gabriele Zanoletti" userId="fc6666fa-3441-4ddc-a8b9-f69fbbdf5644" providerId="ADAL" clId="{62353DCA-C895-479A-B15A-153889A74D3C}" dt="2024-01-24T21:46:06.976" v="1610"/>
        <pc:sldMkLst>
          <pc:docMk/>
          <pc:sldMk cId="3702300545" sldId="323"/>
        </pc:sldMkLst>
      </pc:sldChg>
      <pc:sldChg chg="modNotesTx">
        <pc:chgData name="Gabriele Zanoletti" userId="fc6666fa-3441-4ddc-a8b9-f69fbbdf5644" providerId="ADAL" clId="{62353DCA-C895-479A-B15A-153889A74D3C}" dt="2024-01-24T22:32:53.550" v="2655"/>
        <pc:sldMkLst>
          <pc:docMk/>
          <pc:sldMk cId="2885120835" sldId="324"/>
        </pc:sldMkLst>
      </pc:sldChg>
      <pc:sldChg chg="modNotesTx">
        <pc:chgData name="Gabriele Zanoletti" userId="fc6666fa-3441-4ddc-a8b9-f69fbbdf5644" providerId="ADAL" clId="{62353DCA-C895-479A-B15A-153889A74D3C}" dt="2024-01-24T22:43:59.001" v="3003"/>
        <pc:sldMkLst>
          <pc:docMk/>
          <pc:sldMk cId="2835239964" sldId="325"/>
        </pc:sldMkLst>
      </pc:sldChg>
      <pc:sldChg chg="modNotesTx">
        <pc:chgData name="Gabriele Zanoletti" userId="fc6666fa-3441-4ddc-a8b9-f69fbbdf5644" providerId="ADAL" clId="{62353DCA-C895-479A-B15A-153889A74D3C}" dt="2024-01-24T22:46:05.184" v="3036" actId="20577"/>
        <pc:sldMkLst>
          <pc:docMk/>
          <pc:sldMk cId="1343076952" sldId="326"/>
        </pc:sldMkLst>
      </pc:sldChg>
      <pc:sldChg chg="modNotesTx">
        <pc:chgData name="Gabriele Zanoletti" userId="fc6666fa-3441-4ddc-a8b9-f69fbbdf5644" providerId="ADAL" clId="{62353DCA-C895-479A-B15A-153889A74D3C}" dt="2024-01-24T21:23:10.552" v="952" actId="20577"/>
        <pc:sldMkLst>
          <pc:docMk/>
          <pc:sldMk cId="897985928" sldId="332"/>
        </pc:sldMkLst>
      </pc:sldChg>
      <pc:sldChg chg="modSp mod modNotesTx">
        <pc:chgData name="Gabriele Zanoletti" userId="fc6666fa-3441-4ddc-a8b9-f69fbbdf5644" providerId="ADAL" clId="{62353DCA-C895-479A-B15A-153889A74D3C}" dt="2024-01-24T21:34:41.141" v="1313" actId="20577"/>
        <pc:sldMkLst>
          <pc:docMk/>
          <pc:sldMk cId="1171648230" sldId="333"/>
        </pc:sldMkLst>
        <pc:spChg chg="mod">
          <ac:chgData name="Gabriele Zanoletti" userId="fc6666fa-3441-4ddc-a8b9-f69fbbdf5644" providerId="ADAL" clId="{62353DCA-C895-479A-B15A-153889A74D3C}" dt="2024-01-24T19:07:01.906" v="1" actId="20577"/>
          <ac:spMkLst>
            <pc:docMk/>
            <pc:sldMk cId="1171648230" sldId="333"/>
            <ac:spMk id="9" creationId="{E3501211-943E-D7DB-4B3A-FE3E784A94F5}"/>
          </ac:spMkLst>
        </pc:spChg>
      </pc:sldChg>
      <pc:sldChg chg="modNotesTx">
        <pc:chgData name="Gabriele Zanoletti" userId="fc6666fa-3441-4ddc-a8b9-f69fbbdf5644" providerId="ADAL" clId="{62353DCA-C895-479A-B15A-153889A74D3C}" dt="2024-01-24T22:46:20.941" v="3062" actId="20577"/>
        <pc:sldMkLst>
          <pc:docMk/>
          <pc:sldMk cId="1998290092" sldId="334"/>
        </pc:sldMkLst>
      </pc:sldChg>
      <pc:sldChg chg="modNotesTx">
        <pc:chgData name="Gabriele Zanoletti" userId="fc6666fa-3441-4ddc-a8b9-f69fbbdf5644" providerId="ADAL" clId="{62353DCA-C895-479A-B15A-153889A74D3C}" dt="2024-01-24T21:49:50.697" v="1634" actId="20577"/>
        <pc:sldMkLst>
          <pc:docMk/>
          <pc:sldMk cId="2832553207" sldId="335"/>
        </pc:sldMkLst>
      </pc:sldChg>
      <pc:sldChg chg="modNotesTx">
        <pc:chgData name="Gabriele Zanoletti" userId="fc6666fa-3441-4ddc-a8b9-f69fbbdf5644" providerId="ADAL" clId="{62353DCA-C895-479A-B15A-153889A74D3C}" dt="2024-01-24T21:58:55.134" v="1745"/>
        <pc:sldMkLst>
          <pc:docMk/>
          <pc:sldMk cId="349029065" sldId="336"/>
        </pc:sldMkLst>
      </pc:sldChg>
      <pc:sldChg chg="modNotesTx">
        <pc:chgData name="Gabriele Zanoletti" userId="fc6666fa-3441-4ddc-a8b9-f69fbbdf5644" providerId="ADAL" clId="{62353DCA-C895-479A-B15A-153889A74D3C}" dt="2024-01-24T21:51:13.635" v="1636" actId="20577"/>
        <pc:sldMkLst>
          <pc:docMk/>
          <pc:sldMk cId="3040321551" sldId="337"/>
        </pc:sldMkLst>
      </pc:sldChg>
      <pc:sldChg chg="modNotesTx">
        <pc:chgData name="Gabriele Zanoletti" userId="fc6666fa-3441-4ddc-a8b9-f69fbbdf5644" providerId="ADAL" clId="{62353DCA-C895-479A-B15A-153889A74D3C}" dt="2024-01-24T22:32:22.085" v="2653" actId="20577"/>
        <pc:sldMkLst>
          <pc:docMk/>
          <pc:sldMk cId="3682762768" sldId="338"/>
        </pc:sldMkLst>
      </pc:sldChg>
      <pc:sldChg chg="modNotesTx">
        <pc:chgData name="Gabriele Zanoletti" userId="fc6666fa-3441-4ddc-a8b9-f69fbbdf5644" providerId="ADAL" clId="{62353DCA-C895-479A-B15A-153889A74D3C}" dt="2024-01-24T22:17:07.270" v="2366" actId="20577"/>
        <pc:sldMkLst>
          <pc:docMk/>
          <pc:sldMk cId="1233919258" sldId="340"/>
        </pc:sldMkLst>
      </pc:sldChg>
      <pc:sldChg chg="modNotesTx">
        <pc:chgData name="Gabriele Zanoletti" userId="fc6666fa-3441-4ddc-a8b9-f69fbbdf5644" providerId="ADAL" clId="{62353DCA-C895-479A-B15A-153889A74D3C}" dt="2024-01-24T22:14:02.830" v="2352" actId="20577"/>
        <pc:sldMkLst>
          <pc:docMk/>
          <pc:sldMk cId="2889248117" sldId="341"/>
        </pc:sldMkLst>
      </pc:sldChg>
      <pc:sldChg chg="modNotesTx">
        <pc:chgData name="Gabriele Zanoletti" userId="fc6666fa-3441-4ddc-a8b9-f69fbbdf5644" providerId="ADAL" clId="{62353DCA-C895-479A-B15A-153889A74D3C}" dt="2024-01-24T22:19:27.654" v="2369" actId="20577"/>
        <pc:sldMkLst>
          <pc:docMk/>
          <pc:sldMk cId="3557329851" sldId="343"/>
        </pc:sldMkLst>
      </pc:sldChg>
      <pc:sldChg chg="modNotesTx">
        <pc:chgData name="Gabriele Zanoletti" userId="fc6666fa-3441-4ddc-a8b9-f69fbbdf5644" providerId="ADAL" clId="{62353DCA-C895-479A-B15A-153889A74D3C}" dt="2024-01-24T22:23:09.753" v="2390" actId="20577"/>
        <pc:sldMkLst>
          <pc:docMk/>
          <pc:sldMk cId="556406102" sldId="344"/>
        </pc:sldMkLst>
      </pc:sldChg>
      <pc:sldChg chg="modNotesTx">
        <pc:chgData name="Gabriele Zanoletti" userId="fc6666fa-3441-4ddc-a8b9-f69fbbdf5644" providerId="ADAL" clId="{62353DCA-C895-479A-B15A-153889A74D3C}" dt="2024-01-24T22:05:18.968" v="2245" actId="20577"/>
        <pc:sldMkLst>
          <pc:docMk/>
          <pc:sldMk cId="782384403" sldId="345"/>
        </pc:sldMkLst>
      </pc:sldChg>
      <pc:sldChg chg="modSp mod modNotesTx">
        <pc:chgData name="Gabriele Zanoletti" userId="fc6666fa-3441-4ddc-a8b9-f69fbbdf5644" providerId="ADAL" clId="{62353DCA-C895-479A-B15A-153889A74D3C}" dt="2024-01-24T21:34:56.829" v="1314"/>
        <pc:sldMkLst>
          <pc:docMk/>
          <pc:sldMk cId="977858740" sldId="346"/>
        </pc:sldMkLst>
        <pc:spChg chg="mod">
          <ac:chgData name="Gabriele Zanoletti" userId="fc6666fa-3441-4ddc-a8b9-f69fbbdf5644" providerId="ADAL" clId="{62353DCA-C895-479A-B15A-153889A74D3C}" dt="2024-01-24T19:07:18.449" v="3" actId="20577"/>
          <ac:spMkLst>
            <pc:docMk/>
            <pc:sldMk cId="977858740" sldId="346"/>
            <ac:spMk id="9" creationId="{19292DEC-E042-C94B-D5E2-2199F0015849}"/>
          </ac:spMkLst>
        </pc:spChg>
      </pc:sldChg>
      <pc:sldChg chg="modNotesTx">
        <pc:chgData name="Gabriele Zanoletti" userId="fc6666fa-3441-4ddc-a8b9-f69fbbdf5644" providerId="ADAL" clId="{62353DCA-C895-479A-B15A-153889A74D3C}" dt="2024-01-24T21:13:34.440" v="810" actId="20577"/>
        <pc:sldMkLst>
          <pc:docMk/>
          <pc:sldMk cId="252918147" sldId="34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theme" Target="../theme/theme3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2.png"/><Relationship Id="rId2" Type="http://schemas.openxmlformats.org/officeDocument/2006/relationships/tags" Target="../tags/tag188.xml"/><Relationship Id="rId1" Type="http://schemas.openxmlformats.org/officeDocument/2006/relationships/theme" Target="../theme/theme2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8B57D-5C5E-BCF7-3BED-EC57CC950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5BCA1-130F-E149-8154-8004FD3DC0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6D892E-1649-9D22-0C25-B5AA17A9F6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1EE3B0D-4950-441E-6358-F8F570CD751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779A-6A9C-8434-4F1B-715A10DD21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F37B4-5EB4-D756-BCAC-41A2B0A6593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074E8-B47B-7345-2311-E3ACE3849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4542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05FB9-19E1-DAF1-A92F-FE215755C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D22D3A-AA97-C0DF-C727-8E7912A07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928993-A3A5-31C1-5DE9-F5AEA9727D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065AFB6-A86A-F3E2-B033-40C7E2F2783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1C00E-A319-4029-35D9-C0E1869F2BB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D1E5F7-6D4B-7216-2B30-DE0755E51C5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523B6C-DAED-EF49-18F0-D28A9E2B0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0103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D7D2D6-B594-8244-7D3A-5B297B182B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705157-8A99-2193-5A24-B9BA8E7DD1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B7D65D-1091-1FAA-447E-5D63D7E14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B60B9C0-D96D-15AB-3EDE-4D0B9B538CA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743EB-3E08-7711-60AF-C6F0273969C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41EB7B7-9A76-77AF-1CC1-5EAF0594468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E817D5-60CD-D928-71AB-CB43C7B81B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8761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CCAA4-5814-CD83-55B2-FCEF74544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DB41C3-270E-E2EA-6FDE-B54E4DBA9C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F3B1B2-AA96-4D64-7B0E-D00C309BAD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ED080A7-8B38-22F9-EE61-684FC0B70EC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8A17C7-F976-EB10-E710-A7463037F1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838FAE1-8639-4758-EFAC-93137A1268C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A9F074-CB90-3286-A441-53F4D7C33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20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11F36F-F40C-1791-0743-0E1C80ED4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BF882C-3FB8-2727-4E2C-5759E96923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23F90B-77F2-8648-C686-6576C5AEB4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A0B0B2D-8DC9-D540-F628-3B43980611B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47ADF-F34C-7607-8DFB-86C18D8FE9B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DBF6976-05D5-3E68-A70A-72561738AF6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C9EF4A-1AA7-EE37-3813-CE61DA141B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9910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FC272D-50CA-23F6-2AD9-6876577DA7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53FFA1-14FF-2C77-52CE-BEC4E753AC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75A590-ABFF-2352-AF50-D4B7156242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5FE5FAB-AF2F-14DD-A08A-4849224A0F3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FBDE6D-7D3A-47E5-ACD3-57E1C27D41F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909D05-41DE-0B30-5EC4-E02EECF81C7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A753C6-A190-6BDE-0A3C-1BF03A49D4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8483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C45BCD-4A05-37C1-FC56-8E7D1643FE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260BA8-467F-7106-57DB-AB3251A08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0F03F7-941A-7204-DDE8-E608F117CD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6EB2C47-F482-1606-5396-7663149796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4FD876-9A23-197F-F799-329992085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A18CA7-7340-2D9C-A89D-AA027FD0767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018A2D-C436-0056-7BC9-FF9BAF2B64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6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2579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6CC36-B900-C08F-074A-6C0B686BE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6DAB8-CDA5-95F2-A0E3-85C70D25F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915FAF8-880D-368F-FF90-F343979FA3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C44BD0B-CF97-8710-C6A7-45A1BC511F5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86BFB-6B1B-84A9-FB06-BA5AFEE001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875DAB4-271C-15DB-C8C9-4D4853882C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77223E-2530-11F9-A61E-45E5C77BB8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1902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38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552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866B1-279B-6B12-9D43-B81CA8D96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47D8275-8EFA-C1C7-1816-10FC412CD7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C876723-42D8-ED38-E3E5-2B4AE57607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5CC745A-0C82-08E5-6377-45A8A75DD76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E8D9BA-D0CA-9E6D-B890-631DC885369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CB1BC2-AECA-7942-3589-E7D2BBBF665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0DEE44-9235-1309-F37D-EED287C511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493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5DF4F-9013-59C3-5005-9E2340FCA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B987FE-4AC9-53E7-9144-22FC3A46D9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62197F-AED6-B131-82AA-FEF6BE04BB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C2BD26D3-52F6-190C-10FE-FB389F3C5124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076AD1-52CB-8DE3-C9C5-BA2E2D80466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F470B0C-7537-DF2D-7DA7-2EE63872C52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BC307D-5559-376D-D914-96BB52B061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679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D21E1-047B-BF08-85B1-86500AABFF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0CAC76-358D-587E-56A8-5AA01407B4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BB4836-AA28-BA0B-B5F7-E27C84CFAD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ACBAAC-492E-8DA1-668D-B4A9BD725EB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29D83-3343-567E-80C1-A6CEADA1B25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8F7BB32-D71C-29AB-FDAA-6A7F9BA369E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5C42E-3C50-012D-1E53-7BA6E24BB1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083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7E7395-18D2-351F-0C1B-197F243D2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828E45-E9E5-E849-B415-20C21AB19A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B5BB7D-0CF5-775C-772E-35E60EF0E3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FADEE611-1623-4416-DA88-EE398B91B60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EA138-59F6-8368-CEFE-E31538D01B2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90BDDAF-57DB-9801-DCF6-6D55AFAFC66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3C453C-9171-BA79-E17C-61859EC004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050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0B53D-427D-43C9-07AF-5AB4F77F5A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9128E9-B498-C217-AF0B-992561D106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618A4E-36DE-B83B-AF80-09DFEF1702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0BB5A0C-F1FE-3744-B895-8BB07ADB05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C85E59-FAAB-8FD0-2A8B-8DB7E4B20F8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6D05EF1-459A-E369-03D6-4C1161DEA3D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F481A-6F78-30DE-CD0B-CCC90AEEC6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9602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E03D1D-E581-1167-68D7-AB90E7F2D0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2E21B3-49BD-B65D-3831-828078AAE8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CCA45B-0D41-9E70-B54A-3BC4FB70DD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AEB89922-BB58-04E4-E9DD-FB4F1F15D1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E012EF-44AC-6115-0FD5-F674DC1A058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A457FDB-D452-5C65-4A3C-9BE4227A081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507D6-5F78-AFB8-9BCE-B8DAC5F0BF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602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0A65B-71F7-F2EB-2773-939A8AFFD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90F5C5-23EB-4AF2-773C-382C7013DD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94CAF3-4FD2-7415-B047-08632203A6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DCB7538-B276-9210-8BDB-3755BF6ECDBC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99B323-7B17-8EB7-6D51-5E6E020D84C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76879BE-F18D-A89D-01A7-6B7C780D5D9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020-09-28</a:t>
            </a:r>
          </a:p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7DDC72-9454-E0E8-D79E-5E08067936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396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7.xml"/><Relationship Id="rId4" Type="http://schemas.openxmlformats.org/officeDocument/2006/relationships/tags" Target="../tags/tag18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605D435E-1749-4D7C-922C-B8AA23F4AC2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5" name="Crystal Shape">
            <a:extLst>
              <a:ext uri="{FF2B5EF4-FFF2-40B4-BE49-F238E27FC236}">
                <a16:creationId xmlns:a16="http://schemas.microsoft.com/office/drawing/2014/main" id="{8E517925-1E1F-5C49-CCDA-9974E75078DA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6EF526FC-147E-DA40-64AA-3C4AB98E38B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D394B2B7-F80B-E7A6-7BB8-A1B69000DE6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7F04C1BF-64C3-20FF-D5BB-D640B073F3C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97334A24-1482-111D-F782-32FD41B090E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E548871-B2FA-ED76-CE8B-E94E66279F8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54A2C86A-81E1-2F37-061E-440DC018FF1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19BDFBCA-0E6C-EFAA-4799-1314256F088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80C9373-C70C-270A-2B1F-DFB0060722D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92CA6298-C8E0-1BF5-60FA-755A69D3271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CEF56566-2B0F-E3F6-41FA-55A159C81DE9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7141DD96-38A9-A4AB-7474-C10B331BFDD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1C0615B3-0D85-1379-3158-31BECB8FAC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footer_placeholder">
            <a:extLst>
              <a:ext uri="{FF2B5EF4-FFF2-40B4-BE49-F238E27FC236}">
                <a16:creationId xmlns:a16="http://schemas.microsoft.com/office/drawing/2014/main" id="{2E23C1A0-0B35-5ED8-4F8F-AA76F511D46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9" name="empower_classification_placeholder">
            <a:extLst>
              <a:ext uri="{FF2B5EF4-FFF2-40B4-BE49-F238E27FC236}">
                <a16:creationId xmlns:a16="http://schemas.microsoft.com/office/drawing/2014/main" id="{45A0B6A0-CF1A-36BB-AA8F-577E96BE9F5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0" name="empower_date_placeholder">
            <a:extLst>
              <a:ext uri="{FF2B5EF4-FFF2-40B4-BE49-F238E27FC236}">
                <a16:creationId xmlns:a16="http://schemas.microsoft.com/office/drawing/2014/main" id="{9A1157CF-651C-12D5-49FC-F636EB0836E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1A9A6E60-851B-5726-1EA1-142B51912DA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15" name="empower_classification_placeholder">
            <a:extLst>
              <a:ext uri="{FF2B5EF4-FFF2-40B4-BE49-F238E27FC236}">
                <a16:creationId xmlns:a16="http://schemas.microsoft.com/office/drawing/2014/main" id="{60AB92AE-BBC7-A9FE-2207-84BBC6C73C1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E58C467F-2EFE-FA04-E77C-5253B19920D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empower_footer_placeholder">
            <a:extLst>
              <a:ext uri="{FF2B5EF4-FFF2-40B4-BE49-F238E27FC236}">
                <a16:creationId xmlns:a16="http://schemas.microsoft.com/office/drawing/2014/main" id="{F0CF9C2A-F696-1A31-0EB8-CA73E0B01CD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41CCC5C8-DA8D-368E-DFA0-66CBEFBD00B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empower_date_placeholder">
            <a:extLst>
              <a:ext uri="{FF2B5EF4-FFF2-40B4-BE49-F238E27FC236}">
                <a16:creationId xmlns:a16="http://schemas.microsoft.com/office/drawing/2014/main" id="{2822EA6A-5CF7-9A7E-3BA0-EC0D9908E9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85AA65-668F-A760-0BF5-086383CCE0F2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DF98B2F7-BEAF-17E3-0C2E-7C9AB8F8F64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7977" y="2446419"/>
            <a:ext cx="6676045" cy="196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2AAC32F-0B7D-23A2-5C0D-7F409986210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  <p:sp>
        <p:nvSpPr>
          <p:cNvPr id="4" name="Crystal Shape">
            <a:extLst>
              <a:ext uri="{FF2B5EF4-FFF2-40B4-BE49-F238E27FC236}">
                <a16:creationId xmlns:a16="http://schemas.microsoft.com/office/drawing/2014/main" id="{F78FA4EE-1DD5-7407-0262-DA3A3C9AFF45}"/>
              </a:ext>
            </a:extLst>
          </p:cNvPr>
          <p:cNvSpPr/>
          <p:nvPr userDrawn="1"/>
        </p:nvSpPr>
        <p:spPr>
          <a:xfrm rot="16200000" flipH="1" flipV="1">
            <a:off x="-813049" y="813049"/>
            <a:ext cx="6857999" cy="5231904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7390A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5564267-9319-13F8-EEAD-D9F259FB360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36360" y="5517231"/>
            <a:ext cx="2502783" cy="73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412B8607-B23A-4B09-29E2-7B18B9C4510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E8709A32-06C2-5D14-0E57-F7052C80D8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3" name="empower_date_placeholder">
            <a:extLst>
              <a:ext uri="{FF2B5EF4-FFF2-40B4-BE49-F238E27FC236}">
                <a16:creationId xmlns:a16="http://schemas.microsoft.com/office/drawing/2014/main" id="{CD947C19-BE9E-42FB-5ECF-720327140FF7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E7C2CD8-51F6-84D5-C470-B938F011AB2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E4D22F7-7348-86BB-D216-A2E404B743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1FD46C1-99E4-32F0-2F7E-6F40AFB84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empower_footer_placeholder">
            <a:extLst>
              <a:ext uri="{FF2B5EF4-FFF2-40B4-BE49-F238E27FC236}">
                <a16:creationId xmlns:a16="http://schemas.microsoft.com/office/drawing/2014/main" id="{D80519F5-DC38-5EB4-DCE5-15803AFCF30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4" name="empower_classification_placeholder">
            <a:extLst>
              <a:ext uri="{FF2B5EF4-FFF2-40B4-BE49-F238E27FC236}">
                <a16:creationId xmlns:a16="http://schemas.microsoft.com/office/drawing/2014/main" id="{93CB6694-F2BC-6EDE-3799-6630E99AAA2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empower_date_placeholder">
            <a:extLst>
              <a:ext uri="{FF2B5EF4-FFF2-40B4-BE49-F238E27FC236}">
                <a16:creationId xmlns:a16="http://schemas.microsoft.com/office/drawing/2014/main" id="{ADD54DAA-8021-EA19-BCAA-E12A1D06644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FC9B956D-C9B4-E014-74CC-9ACB45C6963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27331360-D338-ADEF-ACD7-9356CB9DEF9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18485D17-1751-9AD8-996E-50DA73E1286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7390A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0618" y="280004"/>
            <a:ext cx="2135872" cy="628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mpower_footer_placeholder">
            <a:extLst>
              <a:ext uri="{FF2B5EF4-FFF2-40B4-BE49-F238E27FC236}">
                <a16:creationId xmlns:a16="http://schemas.microsoft.com/office/drawing/2014/main" id="{8EE896C8-53AD-E1F1-73C6-F4641DD5A57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Politecnico di Milano – DEIB – ARPLab 2024</a:t>
            </a:r>
          </a:p>
        </p:txBody>
      </p:sp>
      <p:sp>
        <p:nvSpPr>
          <p:cNvPr id="5" name="empower_classification_placeholder">
            <a:extLst>
              <a:ext uri="{FF2B5EF4-FFF2-40B4-BE49-F238E27FC236}">
                <a16:creationId xmlns:a16="http://schemas.microsoft.com/office/drawing/2014/main" id="{FC4019C4-C393-67A6-FB53-9B1FB8AE85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8A932258-C7A9-9A56-FA85-31942E51E79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4-01-25</a:t>
            </a: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8448" y="260648"/>
            <a:ext cx="1891249" cy="5567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6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CF2770-3E62-C44F-5AF9-E20B263C8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BA6F465-3916-8773-B818-BD758E4B9C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erkay Ipek – </a:t>
            </a:r>
            <a:r>
              <a:rPr lang="en-US" dirty="0" err="1"/>
              <a:t>ARPLab</a:t>
            </a:r>
            <a:br>
              <a:rPr lang="en-US" dirty="0"/>
            </a:br>
            <a:r>
              <a:rPr lang="en-US" dirty="0"/>
              <a:t>04/09/2025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D21872-DAF6-60D9-A8C6-43FAC7589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weekly Update Presentation 0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45AC4-D753-C7C1-7012-F2EC9F1C4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8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2AA326-761B-4D4C-FE76-5033C83C4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EF0BDB-0F81-1030-D662-0B607A5EF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0D1241-026C-A681-AEF8-223E8F05D4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6DE757-390C-D153-1FC4-4E11F9EEC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EFD034-9DDE-8941-96DA-9570D4BF5F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0044A9-A9FC-368E-D333-068A4E33A7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72" y="1839899"/>
            <a:ext cx="5418290" cy="395512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2E9FAF-336A-D836-D9EF-341D7D78DC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800" y="1855141"/>
            <a:ext cx="5395428" cy="3939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50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974680-D9A8-5F5F-D98D-CC2A959D2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08669D-4A59-EC81-6984-35F237BE3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DB1790-674E-547E-AC58-735689E909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35AD0-EDB3-EF98-EAC5-147CB1726E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1E434C-1344-879E-DF2A-68988D907EA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hat about @ 2 GHz: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21E96E-EA92-E10D-BF70-CA67F4E8A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22320"/>
            <a:ext cx="12192000" cy="51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622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9E578A-AA9F-C5F7-330C-7402A5AB3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E995265-7F58-B348-1678-902BA484A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73B47-D691-1B36-13F5-2581A62B50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A71B9-10A6-3D5B-D5E2-9E350DEC5F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3473DA-135D-4660-757B-B79719261CD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66B9C8-B46B-27F2-A4FF-A26E4AEFD3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7521FE1-E8F0-6FEF-B143-60EA1717BDE9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A352A89-C361-A319-EF24-EA7E5C0984B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5194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B5897-5548-7F4B-F54B-491A11B44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E9D09E-FF2D-9709-5723-AB81D0D48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F31FF9-41B4-5D7D-FDA6-583EE18888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B016A-48CA-E760-41DC-4C8091BD2A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5F6668-9CA8-C3DE-F8DF-54ED1D30351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erefore, calibration seems that it does not working @ 1.5 GHz:</a:t>
            </a:r>
          </a:p>
        </p:txBody>
      </p:sp>
      <p:pic>
        <p:nvPicPr>
          <p:cNvPr id="7" name="Picture 6" descr="A graph with red and blue lines&#10;&#10;AI-generated content may be incorrect.">
            <a:extLst>
              <a:ext uri="{FF2B5EF4-FFF2-40B4-BE49-F238E27FC236}">
                <a16:creationId xmlns:a16="http://schemas.microsoft.com/office/drawing/2014/main" id="{CE69648C-BBC3-EAAB-A5C2-CAB775699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0" y="1643975"/>
            <a:ext cx="11201717" cy="4932100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168B1A9-92FE-A548-1607-B78FC8401FDD}"/>
              </a:ext>
            </a:extLst>
          </p:cNvPr>
          <p:cNvCxnSpPr/>
          <p:nvPr/>
        </p:nvCxnSpPr>
        <p:spPr>
          <a:xfrm>
            <a:off x="2516220" y="40068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A6523B9-F62A-84C3-7DC7-925895716984}"/>
              </a:ext>
            </a:extLst>
          </p:cNvPr>
          <p:cNvCxnSpPr/>
          <p:nvPr/>
        </p:nvCxnSpPr>
        <p:spPr>
          <a:xfrm>
            <a:off x="8372272" y="9087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6141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85B73-570E-3685-E3C2-88AF027B42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319514-56F0-650F-5478-39E3CA24E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olution @1.5 GHz</a:t>
            </a:r>
          </a:p>
        </p:txBody>
      </p:sp>
    </p:spTree>
    <p:extLst>
      <p:ext uri="{BB962C8B-B14F-4D97-AF65-F5344CB8AC3E}">
        <p14:creationId xmlns:p14="http://schemas.microsoft.com/office/powerpoint/2010/main" val="23018802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5A870-1A38-EFA4-9575-2DCFAF0C5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graph with numbers and lines&#10;&#10;AI-generated content may be incorrect.">
            <a:extLst>
              <a:ext uri="{FF2B5EF4-FFF2-40B4-BE49-F238E27FC236}">
                <a16:creationId xmlns:a16="http://schemas.microsoft.com/office/drawing/2014/main" id="{D778ACCB-E1B2-1E61-EEC8-200B423555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28720"/>
            <a:ext cx="12192000" cy="514129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A647D1C-4A78-566F-BCF2-B9AA200CE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0FFF6E-BF95-938C-A3F8-F877927496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89A232-5115-8916-6E9A-1687AB2160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D391CB-F8E9-57F3-F9C1-A02754CEFD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15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BE725E-6ED5-282F-6100-8A2833DA6285}"/>
              </a:ext>
            </a:extLst>
          </p:cNvPr>
          <p:cNvCxnSpPr/>
          <p:nvPr/>
        </p:nvCxnSpPr>
        <p:spPr>
          <a:xfrm>
            <a:off x="2370305" y="4046400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97B512F-DD03-B6BE-885D-6F26EDECBA93}"/>
              </a:ext>
            </a:extLst>
          </p:cNvPr>
          <p:cNvCxnSpPr>
            <a:cxnSpLocks/>
          </p:cNvCxnSpPr>
          <p:nvPr/>
        </p:nvCxnSpPr>
        <p:spPr>
          <a:xfrm flipH="1">
            <a:off x="8955932" y="2879694"/>
            <a:ext cx="1501302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09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743A33-6EAF-F1B7-1A9D-108FABB3E0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aph with lines and numbers&#10;&#10;AI-generated content may be incorrect.">
            <a:extLst>
              <a:ext uri="{FF2B5EF4-FFF2-40B4-BE49-F238E27FC236}">
                <a16:creationId xmlns:a16="http://schemas.microsoft.com/office/drawing/2014/main" id="{24E5D925-B3E0-894A-9198-3F34D435CB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647869"/>
            <a:ext cx="12192000" cy="519288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0A2291B-1498-AEAA-095C-58A4CFC52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Solution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B2E14B-223E-4D91-7075-B65B8A4089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E4721C-8728-C4EC-7118-3D6FE86ABE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93B9B1-30F7-F50B-4D03-BE16C6DFD33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err="1"/>
              <a:t>thd</a:t>
            </a:r>
            <a:r>
              <a:rPr lang="en-US" dirty="0"/>
              <a:t>(</a:t>
            </a:r>
            <a:r>
              <a:rPr lang="en-US" dirty="0" err="1"/>
              <a:t>calibratedWave</a:t>
            </a:r>
            <a:r>
              <a:rPr lang="en-US" dirty="0"/>
              <a:t>, fs, </a:t>
            </a:r>
            <a:r>
              <a:rPr lang="en-US" b="1" dirty="0"/>
              <a:t>#ofHarmonics</a:t>
            </a:r>
            <a:r>
              <a:rPr lang="en-US" dirty="0"/>
              <a:t>, ‘aliased’); where </a:t>
            </a:r>
            <a:r>
              <a:rPr lang="en-US" b="1" dirty="0"/>
              <a:t>#ofHarmonics = 9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D81FB89-E718-3999-EE31-406001F5D6DD}"/>
              </a:ext>
            </a:extLst>
          </p:cNvPr>
          <p:cNvCxnSpPr/>
          <p:nvPr/>
        </p:nvCxnSpPr>
        <p:spPr>
          <a:xfrm>
            <a:off x="2214663" y="4337566"/>
            <a:ext cx="0" cy="118288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0A80ED5-337B-8EC8-7667-CBD70C280FF7}"/>
              </a:ext>
            </a:extLst>
          </p:cNvPr>
          <p:cNvCxnSpPr>
            <a:cxnSpLocks/>
          </p:cNvCxnSpPr>
          <p:nvPr/>
        </p:nvCxnSpPr>
        <p:spPr>
          <a:xfrm flipH="1">
            <a:off x="8641678" y="2383430"/>
            <a:ext cx="1238656" cy="0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57579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244324-1CD5-8F06-23CD-35479BF9C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C863472-DA97-5797-8C27-915C7C21B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Set Up - Revised</a:t>
            </a:r>
          </a:p>
        </p:txBody>
      </p:sp>
    </p:spTree>
    <p:extLst>
      <p:ext uri="{BB962C8B-B14F-4D97-AF65-F5344CB8AC3E}">
        <p14:creationId xmlns:p14="http://schemas.microsoft.com/office/powerpoint/2010/main" val="16595931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A8618-7AF8-3295-D0F8-D8138BC9E8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03442C-E7B4-E784-E8B6-80661A77EE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-80 dB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</a:t>
            </a:r>
            <a:r>
              <a:rPr lang="en-US" b="1" dirty="0"/>
              <a:t>(</a:t>
            </a:r>
            <a:r>
              <a:rPr lang="en-US" b="1" i="1" dirty="0"/>
              <a:t>#ofHarmonics is 9 @1.5 GHz, 15 otherwise</a:t>
            </a:r>
            <a:r>
              <a:rPr lang="en-US" b="1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293902-738E-6929-A7C8-1E6A086B2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inal Checking: Set Up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59CEDD-EA5C-7761-1F1F-59F7F07B30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C7AF2A-E4CB-EB45-A53E-90551856B8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59066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CC6C7-355B-40C2-57F5-A346B02159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638F39-AACE-8778-6764-9560BF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 - Revised</a:t>
            </a:r>
          </a:p>
        </p:txBody>
      </p:sp>
    </p:spTree>
    <p:extLst>
      <p:ext uri="{BB962C8B-B14F-4D97-AF65-F5344CB8AC3E}">
        <p14:creationId xmlns:p14="http://schemas.microsoft.com/office/powerpoint/2010/main" val="1259203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C29BDC-7CB8-266E-07CF-D9D5D9169AC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4800" y="1268414"/>
            <a:ext cx="11520000" cy="5113337"/>
          </a:xfrm>
        </p:spPr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What is done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Final Checking</a:t>
            </a:r>
          </a:p>
          <a:p>
            <a:pPr lvl="2">
              <a:lnSpc>
                <a:spcPct val="250000"/>
              </a:lnSpc>
            </a:pPr>
            <a:r>
              <a:rPr lang="en-US" sz="1400" dirty="0"/>
              <a:t>Number of Harmonics Problem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Approaching an ideal calibration</a:t>
            </a:r>
          </a:p>
          <a:p>
            <a:pPr>
              <a:lnSpc>
                <a:spcPct val="250000"/>
              </a:lnSpc>
            </a:pPr>
            <a:r>
              <a:rPr lang="en-US" dirty="0"/>
              <a:t>Plans for the next weeks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PRBS Signal Reading cont.</a:t>
            </a:r>
          </a:p>
          <a:p>
            <a:pPr lvl="1">
              <a:lnSpc>
                <a:spcPct val="250000"/>
              </a:lnSpc>
            </a:pPr>
            <a:r>
              <a:rPr lang="en-US" sz="1600" dirty="0"/>
              <a:t>Approaching an ideal calibration cont.</a:t>
            </a:r>
          </a:p>
          <a:p>
            <a:pPr lvl="1">
              <a:lnSpc>
                <a:spcPct val="250000"/>
              </a:lnSpc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D17616-C6F6-5E72-B3B8-B8737DA3D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1B5723-91F0-CFF0-89C2-C7F32E627F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684820-F0A8-5DE6-4157-05654A42B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– Results - Revis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E244EF-984E-644F-0020-64641E2C81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B87840-AF8F-069B-88FF-E31C489C07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8" name="Content Placeholder 7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63333C16-708B-0BC8-EAC2-E27620343E7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49" y="1171123"/>
            <a:ext cx="11961101" cy="5005942"/>
          </a:xfrm>
        </p:spPr>
      </p:pic>
    </p:spTree>
    <p:extLst>
      <p:ext uri="{BB962C8B-B14F-4D97-AF65-F5344CB8AC3E}">
        <p14:creationId xmlns:p14="http://schemas.microsoft.com/office/powerpoint/2010/main" val="13201787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5375A-698E-335A-29C7-C821DE92A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B56F7D-87B9-3A45-30A2-0B8B2BE62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20321399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2180D-64D6-CBBD-1F4D-AE1E8B144D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494048-6A8F-73B7-AEF5-1DB53E0924A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We want to make sure that the signal can be reversed by using an ideal calibration (infinite number of coefficients) 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(</a:t>
            </a:r>
            <a:r>
              <a:rPr lang="en-US" i="1" dirty="0"/>
              <a:t>#ofHarmonics is 9 @1.5 GHz, 15 otherwise</a:t>
            </a:r>
            <a:r>
              <a:rPr lang="en-US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E41D15-EA1A-7CC3-BF3A-FF7757F65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pproaching an ideal calibration: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D97B6C-ECF3-629B-8FD3-B79DBA5D3A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B7C1D7-9EC8-B928-A614-CA6B8ADCD2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6323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65175-1D8E-5331-6F2A-DC4A1DFD0C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2DF17E-B136-5B30-9C5C-CFF3F1D16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3568878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77AD7-9A25-B505-D783-BC2AC1AE89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BDF410-F053-5542-20A2-D1495C8D9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D18E6-B0DE-932F-8B3E-DAD249BC654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1964AD-4FE0-4CDE-2390-5E798DC40F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9" name="Content Placeholder 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A56490A6-5BD5-5CAB-B5A1-95EDBB0D9DA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76265"/>
            <a:ext cx="11520487" cy="4897633"/>
          </a:xfr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6619E17-3E67-1A89-1730-369024FBDD4D}"/>
              </a:ext>
            </a:extLst>
          </p:cNvPr>
          <p:cNvCxnSpPr>
            <a:cxnSpLocks/>
          </p:cNvCxnSpPr>
          <p:nvPr/>
        </p:nvCxnSpPr>
        <p:spPr>
          <a:xfrm flipH="1">
            <a:off x="1173804" y="4046706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B9C8D13-321C-4584-FD36-70040C9E1C38}"/>
              </a:ext>
            </a:extLst>
          </p:cNvPr>
          <p:cNvCxnSpPr>
            <a:cxnSpLocks/>
          </p:cNvCxnSpPr>
          <p:nvPr/>
        </p:nvCxnSpPr>
        <p:spPr>
          <a:xfrm flipV="1">
            <a:off x="11018196" y="4137071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7256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51E902-2BB6-CC45-7206-FB10F519FF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535830-7A27-1796-6351-9D7A96AD3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et Up - Reviewed</a:t>
            </a:r>
          </a:p>
        </p:txBody>
      </p:sp>
    </p:spTree>
    <p:extLst>
      <p:ext uri="{BB962C8B-B14F-4D97-AF65-F5344CB8AC3E}">
        <p14:creationId xmlns:p14="http://schemas.microsoft.com/office/powerpoint/2010/main" val="664467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B6B2D-AB47-730E-56FE-9F8AE9A342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FF426A-BACC-78F4-8434-2381B4E54EB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We want to make sure that the signal can be reversed by using an ideal calibration (infinite number of coefficients) 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</a:t>
            </a:r>
            <a:r>
              <a:rPr lang="en-US" b="1" dirty="0"/>
              <a:t>really high memory orders</a:t>
            </a:r>
            <a:r>
              <a:rPr lang="en-US" dirty="0"/>
              <a:t>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 </a:t>
            </a:r>
            <a:r>
              <a:rPr lang="en-US" b="1" dirty="0"/>
              <a:t>(</a:t>
            </a:r>
            <a:r>
              <a:rPr lang="en-US" b="1" i="1" dirty="0"/>
              <a:t>#ofHarmonics is 9 @ all cases</a:t>
            </a:r>
            <a:r>
              <a:rPr lang="en-US" b="1" dirty="0"/>
              <a:t>)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D31237-54BF-4A33-5D87-312437F43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pproaching an ideal calibration: Set Up - Review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ED26-882A-13E6-AF73-7C4B4F37EF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267473-3A34-8DBD-02DC-F30AB74890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33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C6ED1-8171-9935-38AC-ACB8A286CD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28EDD7-C666-6138-F775-0DC4A3D8C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Results - Reviewed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F079B6-E584-9165-CB6F-E00F55AD50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446F41-896A-B0F6-90EC-863755842C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874C80E-F6A1-5B4D-882D-5323F4D4BB0D}"/>
              </a:ext>
            </a:extLst>
          </p:cNvPr>
          <p:cNvCxnSpPr>
            <a:cxnSpLocks/>
          </p:cNvCxnSpPr>
          <p:nvPr/>
        </p:nvCxnSpPr>
        <p:spPr>
          <a:xfrm flipH="1">
            <a:off x="1173804" y="4046706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CAC5102-BE28-B0EE-2854-32BEE959181A}"/>
              </a:ext>
            </a:extLst>
          </p:cNvPr>
          <p:cNvCxnSpPr>
            <a:cxnSpLocks/>
          </p:cNvCxnSpPr>
          <p:nvPr/>
        </p:nvCxnSpPr>
        <p:spPr>
          <a:xfrm flipV="1">
            <a:off x="11018196" y="4137071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216DF03B-A0BA-1895-055F-F76AC177F7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0" y="1210048"/>
            <a:ext cx="12192000" cy="524346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8EFE8E9-F184-F906-5579-1C2EB204B711}"/>
              </a:ext>
            </a:extLst>
          </p:cNvPr>
          <p:cNvCxnSpPr>
            <a:cxnSpLocks/>
          </p:cNvCxnSpPr>
          <p:nvPr/>
        </p:nvCxnSpPr>
        <p:spPr>
          <a:xfrm flipH="1">
            <a:off x="879754" y="4304643"/>
            <a:ext cx="1258110" cy="515874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27B5085-6C12-F6D0-9FBB-00F8997E97BB}"/>
              </a:ext>
            </a:extLst>
          </p:cNvPr>
          <p:cNvCxnSpPr>
            <a:cxnSpLocks/>
          </p:cNvCxnSpPr>
          <p:nvPr/>
        </p:nvCxnSpPr>
        <p:spPr>
          <a:xfrm flipV="1">
            <a:off x="11318731" y="4304643"/>
            <a:ext cx="476655" cy="85101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79045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44F14-E346-4EBA-3F4B-EF0EBA50E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7B2617F-AADD-699D-C659-B4CB4E280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Problem @1GHz</a:t>
            </a:r>
          </a:p>
        </p:txBody>
      </p:sp>
    </p:spTree>
    <p:extLst>
      <p:ext uri="{BB962C8B-B14F-4D97-AF65-F5344CB8AC3E}">
        <p14:creationId xmlns:p14="http://schemas.microsoft.com/office/powerpoint/2010/main" val="1470950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AADEB-5345-2435-E342-63771B379A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AF3D1F-3E37-B303-314C-78B9FCBB3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1C58C2-7128-248E-B5F4-18DBA0970E0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39F67-CA42-B6A7-5D45-4D78DF6A1B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D18650-E317-03C7-0562-A9B481EDBC5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1GHz</a:t>
            </a:r>
            <a:endParaRPr lang="tr-TR" dirty="0"/>
          </a:p>
        </p:txBody>
      </p:sp>
      <p:pic>
        <p:nvPicPr>
          <p:cNvPr id="12" name="Picture 11" descr="A graph of a graph&#10;&#10;AI-generated content may be incorrect.">
            <a:extLst>
              <a:ext uri="{FF2B5EF4-FFF2-40B4-BE49-F238E27FC236}">
                <a16:creationId xmlns:a16="http://schemas.microsoft.com/office/drawing/2014/main" id="{4D46EDE1-B6CD-12D5-CDD3-205382E705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00" y="1687191"/>
            <a:ext cx="11857200" cy="517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14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AB312E-70CB-062A-25F6-BB0702B66A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CFC2B9-E946-EED3-C569-5BB5BEA94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br>
              <a:rPr lang="en-US" sz="3600" dirty="0"/>
            </a:br>
            <a:r>
              <a:rPr lang="en-US" sz="3600" dirty="0"/>
              <a:t>Final Checking :</a:t>
            </a:r>
            <a:br>
              <a:rPr lang="en-US" sz="3600" dirty="0"/>
            </a:br>
            <a:r>
              <a:rPr lang="en-US" sz="3600" dirty="0"/>
              <a:t>Set Up</a:t>
            </a:r>
          </a:p>
        </p:txBody>
      </p:sp>
    </p:spTree>
    <p:extLst>
      <p:ext uri="{BB962C8B-B14F-4D97-AF65-F5344CB8AC3E}">
        <p14:creationId xmlns:p14="http://schemas.microsoft.com/office/powerpoint/2010/main" val="36384561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DE9E49-A611-9146-BC9A-E9625EF9A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95DA1D-CC23-3919-28B9-F1BA4CD00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C678F4-4511-655E-235A-D0CB3D6D4B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85C5D-5E15-CE7F-C030-895C7149A1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2754EE-D83E-6EB6-2502-26F840EA929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alibrated Voltage Waveform @1GHz</a:t>
            </a:r>
            <a:endParaRPr lang="tr-TR" dirty="0"/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0EB42BD4-2C69-062A-5D7C-A05339765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9" y="1701445"/>
            <a:ext cx="1152000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6303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04BF0-A3DF-5556-36D5-6DA3E2CF7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A80900-A24C-9A9E-DF77-29C62170D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Solution @1GHz</a:t>
            </a:r>
          </a:p>
        </p:txBody>
      </p:sp>
    </p:spTree>
    <p:extLst>
      <p:ext uri="{BB962C8B-B14F-4D97-AF65-F5344CB8AC3E}">
        <p14:creationId xmlns:p14="http://schemas.microsoft.com/office/powerpoint/2010/main" val="13650982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2CC2EF-F23B-8722-7892-6210542A9D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aph with lines and numbers&#10;&#10;AI-generated content may be incorrect.">
            <a:extLst>
              <a:ext uri="{FF2B5EF4-FFF2-40B4-BE49-F238E27FC236}">
                <a16:creationId xmlns:a16="http://schemas.microsoft.com/office/drawing/2014/main" id="{79698191-EE5E-75E3-7154-4424A66E41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00" y="1629723"/>
            <a:ext cx="11520000" cy="503955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F4061E4-6C5C-2668-12A9-C58057206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Solution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7FCF4A-F31A-553B-9CD2-FCCDE49D41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DC657E-931B-E9FD-548A-DCB839A34B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24EA7DA-29A3-AEB1-DE94-2CA5DF9CC48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1GHz </a:t>
            </a:r>
            <a:r>
              <a:rPr lang="en-US" i="1" dirty="0"/>
              <a:t>(#ofHarmonics = 64)</a:t>
            </a:r>
            <a:endParaRPr lang="tr-TR" i="1" dirty="0"/>
          </a:p>
        </p:txBody>
      </p:sp>
    </p:spTree>
    <p:extLst>
      <p:ext uri="{BB962C8B-B14F-4D97-AF65-F5344CB8AC3E}">
        <p14:creationId xmlns:p14="http://schemas.microsoft.com/office/powerpoint/2010/main" val="22341969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C8680-1815-FE3E-EF63-9822E7128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5BF146-C697-D588-A657-255C69EF0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Solution @1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8D4892-F5DE-83A7-F1D7-126EAB03B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5FB86-F188-B68C-5A96-43A72EB16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579FEF-ACAB-6B47-DF34-2C57BED3DB4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alibrated Voltage Waveform @1GHz </a:t>
            </a:r>
            <a:r>
              <a:rPr lang="en-US" i="1" dirty="0"/>
              <a:t>(#ofHarmonics = 64)</a:t>
            </a:r>
            <a:endParaRPr lang="tr-TR" dirty="0"/>
          </a:p>
        </p:txBody>
      </p:sp>
      <p:pic>
        <p:nvPicPr>
          <p:cNvPr id="8" name="Picture 7" descr="A graph of a graph&#10;&#10;AI-generated content may be incorrect.">
            <a:extLst>
              <a:ext uri="{FF2B5EF4-FFF2-40B4-BE49-F238E27FC236}">
                <a16:creationId xmlns:a16="http://schemas.microsoft.com/office/drawing/2014/main" id="{7EBA618D-BB6A-4026-C897-75C6911D28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91" y="1704919"/>
            <a:ext cx="11248417" cy="485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1350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5527D3-E6B1-39F7-5910-5009BFD90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0F3694-1532-6B66-EA5A-170D70A28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Approaching an ideal calibration:</a:t>
            </a:r>
            <a:br>
              <a:rPr lang="en-US" sz="3600" dirty="0"/>
            </a:br>
            <a:r>
              <a:rPr lang="en-US" sz="3600" dirty="0"/>
              <a:t>Problem @2GHz</a:t>
            </a:r>
          </a:p>
        </p:txBody>
      </p:sp>
    </p:spTree>
    <p:extLst>
      <p:ext uri="{BB962C8B-B14F-4D97-AF65-F5344CB8AC3E}">
        <p14:creationId xmlns:p14="http://schemas.microsoft.com/office/powerpoint/2010/main" val="30115339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E4A76-3074-138A-C70B-AD05812F21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0D16DB-7485-344F-99CA-1DD55C89D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ing an ideal calibration – Problem @2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F9CDB8-B551-F8E7-E594-EE2D1B4394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2EFD14-0BBF-2957-F862-86DC58FCF5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FA7858-19EA-D41C-1CCA-E2F797BB32B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put Voltage Waveform @2GHz</a:t>
            </a:r>
            <a:endParaRPr lang="tr-TR" dirty="0"/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D917563D-2C2B-86F3-9F9F-FB0E8C8B8A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00" y="1746324"/>
            <a:ext cx="11520000" cy="4922956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5A5EFFA-F6AC-A5EB-882C-FE7724E27B82}"/>
              </a:ext>
            </a:extLst>
          </p:cNvPr>
          <p:cNvCxnSpPr>
            <a:cxnSpLocks/>
          </p:cNvCxnSpPr>
          <p:nvPr/>
        </p:nvCxnSpPr>
        <p:spPr>
          <a:xfrm>
            <a:off x="8966681" y="3908753"/>
            <a:ext cx="2122851" cy="59809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88606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C1060-EAC9-4BAF-DDBF-49F03AA91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BD8611-DB6F-B45E-47B6-36A49E683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br>
              <a:rPr lang="en-US" sz="3600" dirty="0"/>
            </a:br>
            <a:r>
              <a:rPr lang="en-US" sz="3600" dirty="0"/>
              <a:t>Plans for the next weeks</a:t>
            </a:r>
          </a:p>
        </p:txBody>
      </p:sp>
    </p:spTree>
    <p:extLst>
      <p:ext uri="{BB962C8B-B14F-4D97-AF65-F5344CB8AC3E}">
        <p14:creationId xmlns:p14="http://schemas.microsoft.com/office/powerpoint/2010/main" val="22764289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0F7869-6885-4764-BC2A-EEA50D472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DA1D37-2629-ED52-7026-F9A080B82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Plans for the next week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5EA2D6-AA58-9CF6-4C00-B074DB58E10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BC4D0F-4BE5-27FC-8DCB-2F3CBCC183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216B05E-B5E4-FF76-7F06-40FA0329814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ry to fix the problem of ideal calibration @2GHz.</a:t>
            </a:r>
          </a:p>
          <a:p>
            <a:r>
              <a:rPr lang="en-US" dirty="0"/>
              <a:t>Determine how many levels of PRBS signal is required to obtain similar coefficients.</a:t>
            </a:r>
          </a:p>
          <a:p>
            <a:r>
              <a:rPr lang="en-US" dirty="0"/>
              <a:t>My final exam is on 12</a:t>
            </a:r>
            <a:r>
              <a:rPr lang="en-US" baseline="30000" dirty="0"/>
              <a:t>th</a:t>
            </a:r>
            <a:r>
              <a:rPr lang="en-US" dirty="0"/>
              <a:t> September.</a:t>
            </a:r>
          </a:p>
        </p:txBody>
      </p:sp>
    </p:spTree>
    <p:extLst>
      <p:ext uri="{BB962C8B-B14F-4D97-AF65-F5344CB8AC3E}">
        <p14:creationId xmlns:p14="http://schemas.microsoft.com/office/powerpoint/2010/main" val="20241877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4ED38F5-6AF9-E40E-A098-ABE8CC3B12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i="1" dirty="0"/>
              <a:t>Purpose</a:t>
            </a:r>
            <a:r>
              <a:rPr lang="en-US" dirty="0"/>
              <a:t>: Based on previous results, using a polynomial order of 9 and a memory order of 5 provides approximately -80 dB THD at 2 GHz, which matches our target. We need to verify whether this configuration is suitable for other frequencies as well. </a:t>
            </a:r>
          </a:p>
          <a:p>
            <a:endParaRPr lang="en-US" dirty="0"/>
          </a:p>
          <a:p>
            <a:r>
              <a:rPr lang="en-US" i="1" dirty="0"/>
              <a:t>Step 1</a:t>
            </a:r>
            <a:r>
              <a:rPr lang="en-US" dirty="0"/>
              <a:t>: Take the signal of input and output @ 1 GHz, 1.5GHz and 2 GHz.</a:t>
            </a:r>
          </a:p>
          <a:p>
            <a:r>
              <a:rPr lang="en-US" i="1" dirty="0"/>
              <a:t>Step 2</a:t>
            </a:r>
            <a:r>
              <a:rPr lang="en-US" dirty="0"/>
              <a:t>: Perform calibration with varying memory orders while keeping the polynomial order fixed at 9.</a:t>
            </a:r>
          </a:p>
          <a:p>
            <a:r>
              <a:rPr lang="en-US" i="1" dirty="0"/>
              <a:t>Step 3: </a:t>
            </a:r>
            <a:r>
              <a:rPr lang="en-US" dirty="0"/>
              <a:t>Calculate THD values for the input, output and calibrated waveforms.</a:t>
            </a:r>
          </a:p>
          <a:p>
            <a:r>
              <a:rPr lang="en-US" i="1" dirty="0"/>
              <a:t>Step 4: </a:t>
            </a:r>
            <a:r>
              <a:rPr lang="en-US" dirty="0"/>
              <a:t>Plot and compare all results in a plot.</a:t>
            </a:r>
            <a:endParaRPr lang="tr-TR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DB8397-D680-60DA-E34B-6691C72CD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Final Checking – Set Up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762927-AD70-1481-F8CC-CA8CB7484A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A93858-345E-5492-F15F-45CCF0A5C0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9341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06215-FC98-6ADF-23ED-34B1EF237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966AEA-3407-AFD5-6EE2-E5906CC7C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683267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6F261-9847-6930-3610-3EC31D01F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D7FCD0-A508-6AD4-D5CC-0223A34BF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BD6D1C-3752-A361-AC98-961D6E62B87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E98363-7217-F55E-AD96-62DA2A3BB7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9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59960A7C-61EC-1E8A-08F3-0EB36231EE2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79A3A84-FE63-E32B-2BBA-91AE543224F9}"/>
              </a:ext>
            </a:extLst>
          </p:cNvPr>
          <p:cNvCxnSpPr/>
          <p:nvPr/>
        </p:nvCxnSpPr>
        <p:spPr>
          <a:xfrm flipH="1" flipV="1">
            <a:off x="11618068" y="3953477"/>
            <a:ext cx="671208" cy="1050587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038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5DCDB-C03B-7C08-C3CB-2B900EE1E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BCB15E-C80F-8B0A-6148-C23A11E1F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hecking - Results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50A4BA-9946-1FEF-E476-DAC051A1DA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8FC87C-2F5E-F6BB-4295-B5AB533A9A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7" name="Content Placeholder 18" descr="A graph of different frequency&#10;&#10;AI-generated content may be incorrect.">
            <a:extLst>
              <a:ext uri="{FF2B5EF4-FFF2-40B4-BE49-F238E27FC236}">
                <a16:creationId xmlns:a16="http://schemas.microsoft.com/office/drawing/2014/main" id="{1B7F093E-3B73-328C-9601-9230EC59AC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8833"/>
            <a:ext cx="11520487" cy="502609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23A2016-A70F-7837-B7A1-C23BF185C562}"/>
              </a:ext>
            </a:extLst>
          </p:cNvPr>
          <p:cNvCxnSpPr/>
          <p:nvPr/>
        </p:nvCxnSpPr>
        <p:spPr>
          <a:xfrm>
            <a:off x="6241914" y="3834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914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809239-19D7-E309-96DB-82EE44D99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FECC06-F5DE-6DEB-65B2-987F2BD56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713" y="1517515"/>
            <a:ext cx="11300573" cy="2779921"/>
          </a:xfrm>
        </p:spPr>
        <p:txBody>
          <a:bodyPr/>
          <a:lstStyle/>
          <a:p>
            <a:pPr algn="ctr"/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Final Checking:</a:t>
            </a:r>
            <a:br>
              <a:rPr lang="en-US" sz="3600" dirty="0"/>
            </a:br>
            <a:r>
              <a:rPr lang="en-US" sz="3600" dirty="0"/>
              <a:t>Problem @1.5 GHz</a:t>
            </a:r>
          </a:p>
        </p:txBody>
      </p:sp>
    </p:spTree>
    <p:extLst>
      <p:ext uri="{BB962C8B-B14F-4D97-AF65-F5344CB8AC3E}">
        <p14:creationId xmlns:p14="http://schemas.microsoft.com/office/powerpoint/2010/main" val="1526721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2366BE-3023-9BCE-B852-9FB3BEC866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D12E7C9-9328-CDCA-EA17-1B2D6BC8F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inal Checking - Problem @1.5 GHz</a:t>
            </a:r>
            <a:endParaRPr lang="tr-T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610875-92A6-96A8-970A-8BD2766E414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EC1EE3-3EA4-8188-E60B-B5178E1CA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B51CAF-5286-9D44-0848-B4B24A6804B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Here is the output voltage waveform 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53C92A-C96A-AF88-964A-B8043A2DF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800" y="1624036"/>
            <a:ext cx="11522369" cy="492802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FCB38ED-B94C-B09A-0AED-8DC2DCB260EF}"/>
              </a:ext>
            </a:extLst>
          </p:cNvPr>
          <p:cNvCxnSpPr/>
          <p:nvPr/>
        </p:nvCxnSpPr>
        <p:spPr>
          <a:xfrm>
            <a:off x="8469548" y="840626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A3CEE71-722E-A21F-FF18-4C16CEC5F863}"/>
              </a:ext>
            </a:extLst>
          </p:cNvPr>
          <p:cNvCxnSpPr/>
          <p:nvPr/>
        </p:nvCxnSpPr>
        <p:spPr>
          <a:xfrm>
            <a:off x="2409216" y="2246120"/>
            <a:ext cx="0" cy="118288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2070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ARPLab">
      <a:dk1>
        <a:srgbClr val="1D1D1D"/>
      </a:dk1>
      <a:lt1>
        <a:srgbClr val="FFFFFF"/>
      </a:lt1>
      <a:dk2>
        <a:srgbClr val="7290A5"/>
      </a:dk2>
      <a:lt2>
        <a:srgbClr val="8D8786"/>
      </a:lt2>
      <a:accent1>
        <a:srgbClr val="7290A5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7290A5"/>
      </a:hlink>
      <a:folHlink>
        <a:srgbClr val="2040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microsoft.com/office/2006/documentManagement/types"/>
    <ds:schemaRef ds:uri="a709603d-609a-478b-a91d-3c5e984c0e79"/>
    <ds:schemaRef ds:uri="http://purl.org/dc/dcmitype/"/>
    <ds:schemaRef ds:uri="6ef45842-284e-44e4-b2db-1749e7948b44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6ef45842-284e-44e4-b2db-1749e7948b44"/>
    <ds:schemaRef ds:uri="a709603d-609a-478b-a91d-3c5e984c0e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73</TotalTime>
  <Words>1162</Words>
  <Application>Microsoft Office PowerPoint</Application>
  <PresentationFormat>Widescreen</PresentationFormat>
  <Paragraphs>174</Paragraphs>
  <Slides>38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0" baseType="lpstr">
      <vt:lpstr>Arial</vt:lpstr>
      <vt:lpstr>Infineon 16:9</vt:lpstr>
      <vt:lpstr>Biweekly Update Presentation 05</vt:lpstr>
      <vt:lpstr>Outline</vt:lpstr>
      <vt:lpstr>  Final Checking : Set Up</vt:lpstr>
      <vt:lpstr> Final Checking – Set Up</vt:lpstr>
      <vt:lpstr>  Final Checking: Results</vt:lpstr>
      <vt:lpstr>Final Checking - Results</vt:lpstr>
      <vt:lpstr>Final Checking - Results</vt:lpstr>
      <vt:lpstr>  Final Checking: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 - Problem @1.5 GHz</vt:lpstr>
      <vt:lpstr>  Final Checking: Solution @1.5 GHz</vt:lpstr>
      <vt:lpstr>  Final Checking - Solution @1.5 GHz</vt:lpstr>
      <vt:lpstr>  Final Checking - Solution @1.5 GHz</vt:lpstr>
      <vt:lpstr>  Final Checking: Set Up - Revised</vt:lpstr>
      <vt:lpstr>   Final Checking: Set Up - Revised</vt:lpstr>
      <vt:lpstr>  Final Checking: Results - Revised</vt:lpstr>
      <vt:lpstr>Final Checking – Results - Revised</vt:lpstr>
      <vt:lpstr>  Approaching an ideal calibration: Set Up</vt:lpstr>
      <vt:lpstr> Approaching an ideal calibration: Set Up</vt:lpstr>
      <vt:lpstr>Approaching an ideal calibration: Results</vt:lpstr>
      <vt:lpstr>Approaching an ideal calibration - Results</vt:lpstr>
      <vt:lpstr>  Approaching an ideal calibration: Set Up - Reviewed</vt:lpstr>
      <vt:lpstr> Approaching an ideal calibration: Set Up - Reviewed</vt:lpstr>
      <vt:lpstr>Approaching an ideal calibration – Results - Reviewed</vt:lpstr>
      <vt:lpstr>Approaching an ideal calibration: Problem @1GHz</vt:lpstr>
      <vt:lpstr>Approaching an ideal calibration – Problem @1GHz</vt:lpstr>
      <vt:lpstr>Approaching an ideal calibration – Problem @1GHz</vt:lpstr>
      <vt:lpstr>Approaching an ideal calibration: Solution @1GHz</vt:lpstr>
      <vt:lpstr>Approaching an ideal calibration – Solution @1GHz</vt:lpstr>
      <vt:lpstr>Approaching an ideal calibration – Solution @1GHz</vt:lpstr>
      <vt:lpstr>Approaching an ideal calibration: Problem @2GHz</vt:lpstr>
      <vt:lpstr>Approaching an ideal calibration – Problem @2GHz</vt:lpstr>
      <vt:lpstr> Plans for the next weeks</vt:lpstr>
      <vt:lpstr>Plans for the next weeks 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ofoli Andrea (DCV DES DOS IP AMS WLS WADC)</dc:creator>
  <cp:lastModifiedBy>Berkay Ipek</cp:lastModifiedBy>
  <cp:revision>78</cp:revision>
  <dcterms:created xsi:type="dcterms:W3CDTF">2023-11-30T10:20:59Z</dcterms:created>
  <dcterms:modified xsi:type="dcterms:W3CDTF">2025-09-04T14:0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